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 id="2147483700" r:id="rId6"/>
    <p:sldMasterId id="2147483710" r:id="rId7"/>
  </p:sldMasterIdLst>
  <p:notesMasterIdLst>
    <p:notesMasterId r:id="rId31"/>
  </p:notesMasterIdLst>
  <p:sldIdLst>
    <p:sldId id="382" r:id="rId8"/>
    <p:sldId id="4221" r:id="rId9"/>
    <p:sldId id="4224" r:id="rId10"/>
    <p:sldId id="4210" r:id="rId11"/>
    <p:sldId id="4225" r:id="rId12"/>
    <p:sldId id="4220" r:id="rId13"/>
    <p:sldId id="2930" r:id="rId14"/>
    <p:sldId id="4215" r:id="rId15"/>
    <p:sldId id="4209" r:id="rId16"/>
    <p:sldId id="4217" r:id="rId17"/>
    <p:sldId id="332" r:id="rId18"/>
    <p:sldId id="4212" r:id="rId19"/>
    <p:sldId id="334" r:id="rId20"/>
    <p:sldId id="383" r:id="rId21"/>
    <p:sldId id="4174" r:id="rId22"/>
    <p:sldId id="4200" r:id="rId23"/>
    <p:sldId id="4202" r:id="rId24"/>
    <p:sldId id="4206" r:id="rId25"/>
    <p:sldId id="4207" r:id="rId26"/>
    <p:sldId id="377" r:id="rId27"/>
    <p:sldId id="395" r:id="rId28"/>
    <p:sldId id="389" r:id="rId29"/>
    <p:sldId id="38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5A5A5"/>
    <a:srgbClr val="A9D161"/>
    <a:srgbClr val="F17123"/>
    <a:srgbClr val="FCD800"/>
    <a:srgbClr val="006479"/>
    <a:srgbClr val="00A6CA"/>
    <a:srgbClr val="006B87"/>
    <a:srgbClr val="BF9000"/>
    <a:srgbClr val="00303B"/>
    <a:srgbClr val="E040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5DE1AF-63AB-48AD-B9D6-2069ADD8C600}" v="977" dt="2022-08-19T23:35:41.8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25" autoAdjust="0"/>
    <p:restoredTop sz="79796" autoAdjust="0"/>
  </p:normalViewPr>
  <p:slideViewPr>
    <p:cSldViewPr snapToGrid="0">
      <p:cViewPr varScale="1">
        <p:scale>
          <a:sx n="89" d="100"/>
          <a:sy n="89" d="100"/>
        </p:scale>
        <p:origin x="1710"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vier Trujillo" userId="32d8328a-de3f-445e-867d-9214b7ae5b6a" providerId="ADAL" clId="{345DE1AF-63AB-48AD-B9D6-2069ADD8C600}"/>
    <pc:docChg chg="undo custSel addSld delSld modSld sldOrd delMainMaster">
      <pc:chgData name="Javier Trujillo" userId="32d8328a-de3f-445e-867d-9214b7ae5b6a" providerId="ADAL" clId="{345DE1AF-63AB-48AD-B9D6-2069ADD8C600}" dt="2022-08-19T23:36:53.554" v="2852" actId="113"/>
      <pc:docMkLst>
        <pc:docMk/>
      </pc:docMkLst>
      <pc:sldChg chg="modSp mod">
        <pc:chgData name="Javier Trujillo" userId="32d8328a-de3f-445e-867d-9214b7ae5b6a" providerId="ADAL" clId="{345DE1AF-63AB-48AD-B9D6-2069ADD8C600}" dt="2022-08-19T17:45:18.288" v="153" actId="1076"/>
        <pc:sldMkLst>
          <pc:docMk/>
          <pc:sldMk cId="1608915820" sldId="332"/>
        </pc:sldMkLst>
        <pc:spChg chg="mod">
          <ac:chgData name="Javier Trujillo" userId="32d8328a-de3f-445e-867d-9214b7ae5b6a" providerId="ADAL" clId="{345DE1AF-63AB-48AD-B9D6-2069ADD8C600}" dt="2022-08-19T17:42:24.541" v="145"/>
          <ac:spMkLst>
            <pc:docMk/>
            <pc:sldMk cId="1608915820" sldId="332"/>
            <ac:spMk id="7" creationId="{CCF123CA-1273-4344-AA8A-B22DED89E433}"/>
          </ac:spMkLst>
        </pc:spChg>
        <pc:spChg chg="mod">
          <ac:chgData name="Javier Trujillo" userId="32d8328a-de3f-445e-867d-9214b7ae5b6a" providerId="ADAL" clId="{345DE1AF-63AB-48AD-B9D6-2069ADD8C600}" dt="2022-08-19T17:42:45.576" v="148"/>
          <ac:spMkLst>
            <pc:docMk/>
            <pc:sldMk cId="1608915820" sldId="332"/>
            <ac:spMk id="8" creationId="{00000000-0000-0000-0000-000000000000}"/>
          </ac:spMkLst>
        </pc:spChg>
        <pc:spChg chg="mod">
          <ac:chgData name="Javier Trujillo" userId="32d8328a-de3f-445e-867d-9214b7ae5b6a" providerId="ADAL" clId="{345DE1AF-63AB-48AD-B9D6-2069ADD8C600}" dt="2022-08-19T17:42:36.698" v="147"/>
          <ac:spMkLst>
            <pc:docMk/>
            <pc:sldMk cId="1608915820" sldId="332"/>
            <ac:spMk id="10" creationId="{CCF123CA-1273-4344-AA8A-B22DED89E433}"/>
          </ac:spMkLst>
        </pc:spChg>
        <pc:graphicFrameChg chg="mod">
          <ac:chgData name="Javier Trujillo" userId="32d8328a-de3f-445e-867d-9214b7ae5b6a" providerId="ADAL" clId="{345DE1AF-63AB-48AD-B9D6-2069ADD8C600}" dt="2022-08-19T17:45:18.288" v="153" actId="1076"/>
          <ac:graphicFrameMkLst>
            <pc:docMk/>
            <pc:sldMk cId="1608915820" sldId="332"/>
            <ac:graphicFrameMk id="9" creationId="{00000000-0000-0000-0000-000000000000}"/>
          </ac:graphicFrameMkLst>
        </pc:graphicFrameChg>
      </pc:sldChg>
      <pc:sldChg chg="modSp mod">
        <pc:chgData name="Javier Trujillo" userId="32d8328a-de3f-445e-867d-9214b7ae5b6a" providerId="ADAL" clId="{345DE1AF-63AB-48AD-B9D6-2069ADD8C600}" dt="2022-08-19T18:03:58.503" v="230" actId="1076"/>
        <pc:sldMkLst>
          <pc:docMk/>
          <pc:sldMk cId="2116203968" sldId="334"/>
        </pc:sldMkLst>
        <pc:spChg chg="mod">
          <ac:chgData name="Javier Trujillo" userId="32d8328a-de3f-445e-867d-9214b7ae5b6a" providerId="ADAL" clId="{345DE1AF-63AB-48AD-B9D6-2069ADD8C600}" dt="2022-08-19T17:56:02.137" v="224"/>
          <ac:spMkLst>
            <pc:docMk/>
            <pc:sldMk cId="2116203968" sldId="334"/>
            <ac:spMk id="10" creationId="{CCF123CA-1273-4344-AA8A-B22DED89E433}"/>
          </ac:spMkLst>
        </pc:spChg>
        <pc:graphicFrameChg chg="mod">
          <ac:chgData name="Javier Trujillo" userId="32d8328a-de3f-445e-867d-9214b7ae5b6a" providerId="ADAL" clId="{345DE1AF-63AB-48AD-B9D6-2069ADD8C600}" dt="2022-08-19T18:03:58.503" v="230" actId="1076"/>
          <ac:graphicFrameMkLst>
            <pc:docMk/>
            <pc:sldMk cId="2116203968" sldId="334"/>
            <ac:graphicFrameMk id="8" creationId="{00000000-0000-0000-0000-000000000000}"/>
          </ac:graphicFrameMkLst>
        </pc:graphicFrameChg>
      </pc:sldChg>
      <pc:sldChg chg="modSp del mod">
        <pc:chgData name="Javier Trujillo" userId="32d8328a-de3f-445e-867d-9214b7ae5b6a" providerId="ADAL" clId="{345DE1AF-63AB-48AD-B9D6-2069ADD8C600}" dt="2022-08-19T23:28:37.354" v="2818" actId="47"/>
        <pc:sldMkLst>
          <pc:docMk/>
          <pc:sldMk cId="1237368768" sldId="364"/>
        </pc:sldMkLst>
        <pc:spChg chg="mod">
          <ac:chgData name="Javier Trujillo" userId="32d8328a-de3f-445e-867d-9214b7ae5b6a" providerId="ADAL" clId="{345DE1AF-63AB-48AD-B9D6-2069ADD8C600}" dt="2022-08-19T18:26:20.951" v="384" actId="255"/>
          <ac:spMkLst>
            <pc:docMk/>
            <pc:sldMk cId="1237368768" sldId="364"/>
            <ac:spMk id="21" creationId="{00000000-0000-0000-0000-000000000000}"/>
          </ac:spMkLst>
        </pc:spChg>
        <pc:spChg chg="mod">
          <ac:chgData name="Javier Trujillo" userId="32d8328a-de3f-445e-867d-9214b7ae5b6a" providerId="ADAL" clId="{345DE1AF-63AB-48AD-B9D6-2069ADD8C600}" dt="2022-08-19T18:25:37.441" v="382" actId="1076"/>
          <ac:spMkLst>
            <pc:docMk/>
            <pc:sldMk cId="1237368768" sldId="364"/>
            <ac:spMk id="36" creationId="{00000000-0000-0000-0000-000000000000}"/>
          </ac:spMkLst>
        </pc:spChg>
        <pc:spChg chg="mod">
          <ac:chgData name="Javier Trujillo" userId="32d8328a-de3f-445e-867d-9214b7ae5b6a" providerId="ADAL" clId="{345DE1AF-63AB-48AD-B9D6-2069ADD8C600}" dt="2022-08-19T18:25:46.844" v="383" actId="1076"/>
          <ac:spMkLst>
            <pc:docMk/>
            <pc:sldMk cId="1237368768" sldId="364"/>
            <ac:spMk id="37" creationId="{00000000-0000-0000-0000-000000000000}"/>
          </ac:spMkLst>
        </pc:spChg>
        <pc:spChg chg="mod">
          <ac:chgData name="Javier Trujillo" userId="32d8328a-de3f-445e-867d-9214b7ae5b6a" providerId="ADAL" clId="{345DE1AF-63AB-48AD-B9D6-2069ADD8C600}" dt="2022-08-19T18:25:29.188" v="380" actId="1076"/>
          <ac:spMkLst>
            <pc:docMk/>
            <pc:sldMk cId="1237368768" sldId="364"/>
            <ac:spMk id="38" creationId="{00000000-0000-0000-0000-000000000000}"/>
          </ac:spMkLst>
        </pc:spChg>
        <pc:spChg chg="mod">
          <ac:chgData name="Javier Trujillo" userId="32d8328a-de3f-445e-867d-9214b7ae5b6a" providerId="ADAL" clId="{345DE1AF-63AB-48AD-B9D6-2069ADD8C600}" dt="2022-08-18T19:57:50.787" v="19"/>
          <ac:spMkLst>
            <pc:docMk/>
            <pc:sldMk cId="1237368768" sldId="364"/>
            <ac:spMk id="39" creationId="{00000000-0000-0000-0000-000000000000}"/>
          </ac:spMkLst>
        </pc:spChg>
        <pc:spChg chg="mod">
          <ac:chgData name="Javier Trujillo" userId="32d8328a-de3f-445e-867d-9214b7ae5b6a" providerId="ADAL" clId="{345DE1AF-63AB-48AD-B9D6-2069ADD8C600}" dt="2022-08-19T18:25:16.363" v="377" actId="1076"/>
          <ac:spMkLst>
            <pc:docMk/>
            <pc:sldMk cId="1237368768" sldId="364"/>
            <ac:spMk id="40" creationId="{00000000-0000-0000-0000-000000000000}"/>
          </ac:spMkLst>
        </pc:spChg>
        <pc:spChg chg="mod">
          <ac:chgData name="Javier Trujillo" userId="32d8328a-de3f-445e-867d-9214b7ae5b6a" providerId="ADAL" clId="{345DE1AF-63AB-48AD-B9D6-2069ADD8C600}" dt="2022-08-19T18:25:13.258" v="376" actId="1076"/>
          <ac:spMkLst>
            <pc:docMk/>
            <pc:sldMk cId="1237368768" sldId="364"/>
            <ac:spMk id="41" creationId="{00000000-0000-0000-0000-000000000000}"/>
          </ac:spMkLst>
        </pc:spChg>
        <pc:spChg chg="mod">
          <ac:chgData name="Javier Trujillo" userId="32d8328a-de3f-445e-867d-9214b7ae5b6a" providerId="ADAL" clId="{345DE1AF-63AB-48AD-B9D6-2069ADD8C600}" dt="2022-08-19T18:25:11.099" v="375" actId="1076"/>
          <ac:spMkLst>
            <pc:docMk/>
            <pc:sldMk cId="1237368768" sldId="364"/>
            <ac:spMk id="42" creationId="{00000000-0000-0000-0000-000000000000}"/>
          </ac:spMkLst>
        </pc:spChg>
        <pc:graphicFrameChg chg="mod">
          <ac:chgData name="Javier Trujillo" userId="32d8328a-de3f-445e-867d-9214b7ae5b6a" providerId="ADAL" clId="{345DE1AF-63AB-48AD-B9D6-2069ADD8C600}" dt="2022-08-19T18:25:33.782" v="381" actId="1076"/>
          <ac:graphicFrameMkLst>
            <pc:docMk/>
            <pc:sldMk cId="1237368768" sldId="364"/>
            <ac:graphicFrameMk id="35" creationId="{00000000-0000-0000-0000-000000000000}"/>
          </ac:graphicFrameMkLst>
        </pc:graphicFrameChg>
      </pc:sldChg>
      <pc:sldChg chg="modSp del">
        <pc:chgData name="Javier Trujillo" userId="32d8328a-de3f-445e-867d-9214b7ae5b6a" providerId="ADAL" clId="{345DE1AF-63AB-48AD-B9D6-2069ADD8C600}" dt="2022-08-19T23:36:16.251" v="2851" actId="47"/>
        <pc:sldMkLst>
          <pc:docMk/>
          <pc:sldMk cId="2540788503" sldId="376"/>
        </pc:sldMkLst>
        <pc:spChg chg="mod">
          <ac:chgData name="Javier Trujillo" userId="32d8328a-de3f-445e-867d-9214b7ae5b6a" providerId="ADAL" clId="{345DE1AF-63AB-48AD-B9D6-2069ADD8C600}" dt="2022-08-19T17:52:49.637" v="215"/>
          <ac:spMkLst>
            <pc:docMk/>
            <pc:sldMk cId="2540788503" sldId="376"/>
            <ac:spMk id="16" creationId="{00000000-0000-0000-0000-000000000000}"/>
          </ac:spMkLst>
        </pc:spChg>
      </pc:sldChg>
      <pc:sldChg chg="modSp mod">
        <pc:chgData name="Javier Trujillo" userId="32d8328a-de3f-445e-867d-9214b7ae5b6a" providerId="ADAL" clId="{345DE1AF-63AB-48AD-B9D6-2069ADD8C600}" dt="2022-08-19T23:28:27.391" v="2817" actId="1076"/>
        <pc:sldMkLst>
          <pc:docMk/>
          <pc:sldMk cId="1419641831" sldId="377"/>
        </pc:sldMkLst>
        <pc:spChg chg="mod">
          <ac:chgData name="Javier Trujillo" userId="32d8328a-de3f-445e-867d-9214b7ae5b6a" providerId="ADAL" clId="{345DE1AF-63AB-48AD-B9D6-2069ADD8C600}" dt="2022-08-19T17:52:30.584" v="214"/>
          <ac:spMkLst>
            <pc:docMk/>
            <pc:sldMk cId="1419641831" sldId="377"/>
            <ac:spMk id="15"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16"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17"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18"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19"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20" creationId="{A395E1A2-9ACF-1C40-9AC0-22F9380CC537}"/>
          </ac:spMkLst>
        </pc:spChg>
        <pc:spChg chg="mod">
          <ac:chgData name="Javier Trujillo" userId="32d8328a-de3f-445e-867d-9214b7ae5b6a" providerId="ADAL" clId="{345DE1AF-63AB-48AD-B9D6-2069ADD8C600}" dt="2022-08-19T17:52:30.584" v="214"/>
          <ac:spMkLst>
            <pc:docMk/>
            <pc:sldMk cId="1419641831" sldId="377"/>
            <ac:spMk id="21"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23"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24" creationId="{C85C50B2-32F5-0F42-9967-883511ADB532}"/>
          </ac:spMkLst>
        </pc:spChg>
        <pc:spChg chg="mod">
          <ac:chgData name="Javier Trujillo" userId="32d8328a-de3f-445e-867d-9214b7ae5b6a" providerId="ADAL" clId="{345DE1AF-63AB-48AD-B9D6-2069ADD8C600}" dt="2022-08-19T17:52:30.584" v="214"/>
          <ac:spMkLst>
            <pc:docMk/>
            <pc:sldMk cId="1419641831" sldId="377"/>
            <ac:spMk id="25" creationId="{54CA2A0A-1967-8A46-9A67-B0F4ADE0450C}"/>
          </ac:spMkLst>
        </pc:spChg>
        <pc:spChg chg="mod">
          <ac:chgData name="Javier Trujillo" userId="32d8328a-de3f-445e-867d-9214b7ae5b6a" providerId="ADAL" clId="{345DE1AF-63AB-48AD-B9D6-2069ADD8C600}" dt="2022-08-19T20:10:02.891" v="755"/>
          <ac:spMkLst>
            <pc:docMk/>
            <pc:sldMk cId="1419641831" sldId="377"/>
            <ac:spMk id="34" creationId="{00000000-0000-0000-0000-000000000000}"/>
          </ac:spMkLst>
        </pc:spChg>
        <pc:spChg chg="mod">
          <ac:chgData name="Javier Trujillo" userId="32d8328a-de3f-445e-867d-9214b7ae5b6a" providerId="ADAL" clId="{345DE1AF-63AB-48AD-B9D6-2069ADD8C600}" dt="2022-08-19T17:52:30.584" v="214"/>
          <ac:spMkLst>
            <pc:docMk/>
            <pc:sldMk cId="1419641831" sldId="377"/>
            <ac:spMk id="39" creationId="{00000000-0000-0000-0000-000000000000}"/>
          </ac:spMkLst>
        </pc:spChg>
        <pc:spChg chg="mod">
          <ac:chgData name="Javier Trujillo" userId="32d8328a-de3f-445e-867d-9214b7ae5b6a" providerId="ADAL" clId="{345DE1AF-63AB-48AD-B9D6-2069ADD8C600}" dt="2022-08-19T17:51:52.042" v="182"/>
          <ac:spMkLst>
            <pc:docMk/>
            <pc:sldMk cId="1419641831" sldId="377"/>
            <ac:spMk id="41" creationId="{00000000-0000-0000-0000-000000000000}"/>
          </ac:spMkLst>
        </pc:spChg>
        <pc:spChg chg="mod">
          <ac:chgData name="Javier Trujillo" userId="32d8328a-de3f-445e-867d-9214b7ae5b6a" providerId="ADAL" clId="{345DE1AF-63AB-48AD-B9D6-2069ADD8C600}" dt="2022-08-19T17:51:57.452" v="183"/>
          <ac:spMkLst>
            <pc:docMk/>
            <pc:sldMk cId="1419641831" sldId="377"/>
            <ac:spMk id="46" creationId="{00000000-0000-0000-0000-000000000000}"/>
          </ac:spMkLst>
        </pc:spChg>
        <pc:spChg chg="mod">
          <ac:chgData name="Javier Trujillo" userId="32d8328a-de3f-445e-867d-9214b7ae5b6a" providerId="ADAL" clId="{345DE1AF-63AB-48AD-B9D6-2069ADD8C600}" dt="2022-08-19T20:09:37.550" v="754" actId="1076"/>
          <ac:spMkLst>
            <pc:docMk/>
            <pc:sldMk cId="1419641831" sldId="377"/>
            <ac:spMk id="48" creationId="{00000000-0000-0000-0000-000000000000}"/>
          </ac:spMkLst>
        </pc:spChg>
        <pc:spChg chg="mod">
          <ac:chgData name="Javier Trujillo" userId="32d8328a-de3f-445e-867d-9214b7ae5b6a" providerId="ADAL" clId="{345DE1AF-63AB-48AD-B9D6-2069ADD8C600}" dt="2022-08-19T20:09:07.414" v="721" actId="20577"/>
          <ac:spMkLst>
            <pc:docMk/>
            <pc:sldMk cId="1419641831" sldId="377"/>
            <ac:spMk id="49" creationId="{00000000-0000-0000-0000-000000000000}"/>
          </ac:spMkLst>
        </pc:spChg>
        <pc:spChg chg="mod">
          <ac:chgData name="Javier Trujillo" userId="32d8328a-de3f-445e-867d-9214b7ae5b6a" providerId="ADAL" clId="{345DE1AF-63AB-48AD-B9D6-2069ADD8C600}" dt="2022-08-19T20:08:54.308" v="680" actId="20577"/>
          <ac:spMkLst>
            <pc:docMk/>
            <pc:sldMk cId="1419641831" sldId="377"/>
            <ac:spMk id="50" creationId="{00000000-0000-0000-0000-000000000000}"/>
          </ac:spMkLst>
        </pc:spChg>
        <pc:spChg chg="mod">
          <ac:chgData name="Javier Trujillo" userId="32d8328a-de3f-445e-867d-9214b7ae5b6a" providerId="ADAL" clId="{345DE1AF-63AB-48AD-B9D6-2069ADD8C600}" dt="2022-08-19T23:28:27.391" v="2817" actId="1076"/>
          <ac:spMkLst>
            <pc:docMk/>
            <pc:sldMk cId="1419641831" sldId="377"/>
            <ac:spMk id="57" creationId="{00000000-0000-0000-0000-000000000000}"/>
          </ac:spMkLst>
        </pc:spChg>
        <pc:grpChg chg="mod">
          <ac:chgData name="Javier Trujillo" userId="32d8328a-de3f-445e-867d-9214b7ae5b6a" providerId="ADAL" clId="{345DE1AF-63AB-48AD-B9D6-2069ADD8C600}" dt="2022-08-19T17:52:30.584" v="214"/>
          <ac:grpSpMkLst>
            <pc:docMk/>
            <pc:sldMk cId="1419641831" sldId="377"/>
            <ac:grpSpMk id="3" creationId="{00000000-0000-0000-0000-000000000000}"/>
          </ac:grpSpMkLst>
        </pc:grpChg>
      </pc:sldChg>
      <pc:sldChg chg="del">
        <pc:chgData name="Javier Trujillo" userId="32d8328a-de3f-445e-867d-9214b7ae5b6a" providerId="ADAL" clId="{345DE1AF-63AB-48AD-B9D6-2069ADD8C600}" dt="2022-08-19T17:49:33.541" v="167" actId="47"/>
        <pc:sldMkLst>
          <pc:docMk/>
          <pc:sldMk cId="669883772" sldId="378"/>
        </pc:sldMkLst>
      </pc:sldChg>
      <pc:sldChg chg="addSp modSp mod">
        <pc:chgData name="Javier Trujillo" userId="32d8328a-de3f-445e-867d-9214b7ae5b6a" providerId="ADAL" clId="{345DE1AF-63AB-48AD-B9D6-2069ADD8C600}" dt="2022-08-19T23:36:53.554" v="2852" actId="113"/>
        <pc:sldMkLst>
          <pc:docMk/>
          <pc:sldMk cId="302464628" sldId="381"/>
        </pc:sldMkLst>
        <pc:spChg chg="add mod">
          <ac:chgData name="Javier Trujillo" userId="32d8328a-de3f-445e-867d-9214b7ae5b6a" providerId="ADAL" clId="{345DE1AF-63AB-48AD-B9D6-2069ADD8C600}" dt="2022-08-19T23:36:53.554" v="2852" actId="113"/>
          <ac:spMkLst>
            <pc:docMk/>
            <pc:sldMk cId="302464628" sldId="381"/>
            <ac:spMk id="4" creationId="{4040C350-A003-5341-56CF-7F071171FDF4}"/>
          </ac:spMkLst>
        </pc:spChg>
      </pc:sldChg>
      <pc:sldChg chg="modSp mod">
        <pc:chgData name="Javier Trujillo" userId="32d8328a-de3f-445e-867d-9214b7ae5b6a" providerId="ADAL" clId="{345DE1AF-63AB-48AD-B9D6-2069ADD8C600}" dt="2022-08-19T20:13:57.049" v="830" actId="20577"/>
        <pc:sldMkLst>
          <pc:docMk/>
          <pc:sldMk cId="2235873399" sldId="382"/>
        </pc:sldMkLst>
        <pc:spChg chg="mod">
          <ac:chgData name="Javier Trujillo" userId="32d8328a-de3f-445e-867d-9214b7ae5b6a" providerId="ADAL" clId="{345DE1AF-63AB-48AD-B9D6-2069ADD8C600}" dt="2022-08-19T17:41:04.318" v="140" actId="20577"/>
          <ac:spMkLst>
            <pc:docMk/>
            <pc:sldMk cId="2235873399" sldId="382"/>
            <ac:spMk id="2" creationId="{00000000-0000-0000-0000-000000000000}"/>
          </ac:spMkLst>
        </pc:spChg>
        <pc:spChg chg="mod">
          <ac:chgData name="Javier Trujillo" userId="32d8328a-de3f-445e-867d-9214b7ae5b6a" providerId="ADAL" clId="{345DE1AF-63AB-48AD-B9D6-2069ADD8C600}" dt="2022-08-19T20:13:57.049" v="830" actId="20577"/>
          <ac:spMkLst>
            <pc:docMk/>
            <pc:sldMk cId="2235873399" sldId="382"/>
            <ac:spMk id="3" creationId="{00000000-0000-0000-0000-000000000000}"/>
          </ac:spMkLst>
        </pc:spChg>
      </pc:sldChg>
      <pc:sldChg chg="modSp mod">
        <pc:chgData name="Javier Trujillo" userId="32d8328a-de3f-445e-867d-9214b7ae5b6a" providerId="ADAL" clId="{345DE1AF-63AB-48AD-B9D6-2069ADD8C600}" dt="2022-08-19T22:58:23.135" v="2356" actId="14100"/>
        <pc:sldMkLst>
          <pc:docMk/>
          <pc:sldMk cId="1524061278" sldId="383"/>
        </pc:sldMkLst>
        <pc:spChg chg="mod">
          <ac:chgData name="Javier Trujillo" userId="32d8328a-de3f-445e-867d-9214b7ae5b6a" providerId="ADAL" clId="{345DE1AF-63AB-48AD-B9D6-2069ADD8C600}" dt="2022-08-19T18:06:39.742" v="249" actId="255"/>
          <ac:spMkLst>
            <pc:docMk/>
            <pc:sldMk cId="1524061278" sldId="383"/>
            <ac:spMk id="25" creationId="{00000000-0000-0000-0000-000000000000}"/>
          </ac:spMkLst>
        </pc:spChg>
        <pc:spChg chg="mod">
          <ac:chgData name="Javier Trujillo" userId="32d8328a-de3f-445e-867d-9214b7ae5b6a" providerId="ADAL" clId="{345DE1AF-63AB-48AD-B9D6-2069ADD8C600}" dt="2022-08-19T18:05:51.294" v="244"/>
          <ac:spMkLst>
            <pc:docMk/>
            <pc:sldMk cId="1524061278" sldId="383"/>
            <ac:spMk id="28" creationId="{00000000-0000-0000-0000-000000000000}"/>
          </ac:spMkLst>
        </pc:spChg>
        <pc:spChg chg="mod">
          <ac:chgData name="Javier Trujillo" userId="32d8328a-de3f-445e-867d-9214b7ae5b6a" providerId="ADAL" clId="{345DE1AF-63AB-48AD-B9D6-2069ADD8C600}" dt="2022-08-19T18:05:08.488" v="235"/>
          <ac:spMkLst>
            <pc:docMk/>
            <pc:sldMk cId="1524061278" sldId="383"/>
            <ac:spMk id="30" creationId="{00000000-0000-0000-0000-000000000000}"/>
          </ac:spMkLst>
        </pc:spChg>
        <pc:spChg chg="mod">
          <ac:chgData name="Javier Trujillo" userId="32d8328a-de3f-445e-867d-9214b7ae5b6a" providerId="ADAL" clId="{345DE1AF-63AB-48AD-B9D6-2069ADD8C600}" dt="2022-08-19T18:05:04.072" v="234"/>
          <ac:spMkLst>
            <pc:docMk/>
            <pc:sldMk cId="1524061278" sldId="383"/>
            <ac:spMk id="31" creationId="{00000000-0000-0000-0000-000000000000}"/>
          </ac:spMkLst>
        </pc:spChg>
        <pc:spChg chg="mod">
          <ac:chgData name="Javier Trujillo" userId="32d8328a-de3f-445e-867d-9214b7ae5b6a" providerId="ADAL" clId="{345DE1AF-63AB-48AD-B9D6-2069ADD8C600}" dt="2022-08-19T18:05:12.326" v="236"/>
          <ac:spMkLst>
            <pc:docMk/>
            <pc:sldMk cId="1524061278" sldId="383"/>
            <ac:spMk id="32" creationId="{00000000-0000-0000-0000-000000000000}"/>
          </ac:spMkLst>
        </pc:spChg>
        <pc:spChg chg="mod">
          <ac:chgData name="Javier Trujillo" userId="32d8328a-de3f-445e-867d-9214b7ae5b6a" providerId="ADAL" clId="{345DE1AF-63AB-48AD-B9D6-2069ADD8C600}" dt="2022-08-19T18:44:34.865" v="560" actId="20577"/>
          <ac:spMkLst>
            <pc:docMk/>
            <pc:sldMk cId="1524061278" sldId="383"/>
            <ac:spMk id="33" creationId="{00000000-0000-0000-0000-000000000000}"/>
          </ac:spMkLst>
        </pc:spChg>
        <pc:spChg chg="mod">
          <ac:chgData name="Javier Trujillo" userId="32d8328a-de3f-445e-867d-9214b7ae5b6a" providerId="ADAL" clId="{345DE1AF-63AB-48AD-B9D6-2069ADD8C600}" dt="2022-08-19T22:56:56.658" v="2349" actId="1076"/>
          <ac:spMkLst>
            <pc:docMk/>
            <pc:sldMk cId="1524061278" sldId="383"/>
            <ac:spMk id="34" creationId="{00000000-0000-0000-0000-000000000000}"/>
          </ac:spMkLst>
        </pc:spChg>
        <pc:spChg chg="mod">
          <ac:chgData name="Javier Trujillo" userId="32d8328a-de3f-445e-867d-9214b7ae5b6a" providerId="ADAL" clId="{345DE1AF-63AB-48AD-B9D6-2069ADD8C600}" dt="2022-08-19T18:44:44.221" v="561" actId="1076"/>
          <ac:spMkLst>
            <pc:docMk/>
            <pc:sldMk cId="1524061278" sldId="383"/>
            <ac:spMk id="35" creationId="{00000000-0000-0000-0000-000000000000}"/>
          </ac:spMkLst>
        </pc:spChg>
        <pc:spChg chg="mod">
          <ac:chgData name="Javier Trujillo" userId="32d8328a-de3f-445e-867d-9214b7ae5b6a" providerId="ADAL" clId="{345DE1AF-63AB-48AD-B9D6-2069ADD8C600}" dt="2022-08-19T18:05:47.217" v="243"/>
          <ac:spMkLst>
            <pc:docMk/>
            <pc:sldMk cId="1524061278" sldId="383"/>
            <ac:spMk id="37" creationId="{00000000-0000-0000-0000-000000000000}"/>
          </ac:spMkLst>
        </pc:spChg>
        <pc:spChg chg="mod">
          <ac:chgData name="Javier Trujillo" userId="32d8328a-de3f-445e-867d-9214b7ae5b6a" providerId="ADAL" clId="{345DE1AF-63AB-48AD-B9D6-2069ADD8C600}" dt="2022-08-19T18:05:59.958" v="246" actId="1076"/>
          <ac:spMkLst>
            <pc:docMk/>
            <pc:sldMk cId="1524061278" sldId="383"/>
            <ac:spMk id="38" creationId="{00000000-0000-0000-0000-000000000000}"/>
          </ac:spMkLst>
        </pc:spChg>
        <pc:spChg chg="mod">
          <ac:chgData name="Javier Trujillo" userId="32d8328a-de3f-445e-867d-9214b7ae5b6a" providerId="ADAL" clId="{345DE1AF-63AB-48AD-B9D6-2069ADD8C600}" dt="2022-08-19T18:46:28.142" v="571" actId="1076"/>
          <ac:spMkLst>
            <pc:docMk/>
            <pc:sldMk cId="1524061278" sldId="383"/>
            <ac:spMk id="39" creationId="{6007E407-126A-460C-B46D-AE1FF5422216}"/>
          </ac:spMkLst>
        </pc:spChg>
        <pc:spChg chg="mod">
          <ac:chgData name="Javier Trujillo" userId="32d8328a-de3f-445e-867d-9214b7ae5b6a" providerId="ADAL" clId="{345DE1AF-63AB-48AD-B9D6-2069ADD8C600}" dt="2022-08-19T18:05:16.145" v="237"/>
          <ac:spMkLst>
            <pc:docMk/>
            <pc:sldMk cId="1524061278" sldId="383"/>
            <ac:spMk id="248" creationId="{00000000-0000-0000-0000-000000000000}"/>
          </ac:spMkLst>
        </pc:spChg>
        <pc:spChg chg="mod">
          <ac:chgData name="Javier Trujillo" userId="32d8328a-de3f-445e-867d-9214b7ae5b6a" providerId="ADAL" clId="{345DE1AF-63AB-48AD-B9D6-2069ADD8C600}" dt="2022-08-19T22:56:02.992" v="2348" actId="255"/>
          <ac:spMkLst>
            <pc:docMk/>
            <pc:sldMk cId="1524061278" sldId="383"/>
            <ac:spMk id="250" creationId="{00000000-0000-0000-0000-000000000000}"/>
          </ac:spMkLst>
        </pc:spChg>
        <pc:spChg chg="mod">
          <ac:chgData name="Javier Trujillo" userId="32d8328a-de3f-445e-867d-9214b7ae5b6a" providerId="ADAL" clId="{345DE1AF-63AB-48AD-B9D6-2069ADD8C600}" dt="2022-08-19T22:58:23.135" v="2356" actId="14100"/>
          <ac:spMkLst>
            <pc:docMk/>
            <pc:sldMk cId="1524061278" sldId="383"/>
            <ac:spMk id="256" creationId="{00000000-0000-0000-0000-000000000000}"/>
          </ac:spMkLst>
        </pc:spChg>
        <pc:spChg chg="mod">
          <ac:chgData name="Javier Trujillo" userId="32d8328a-de3f-445e-867d-9214b7ae5b6a" providerId="ADAL" clId="{345DE1AF-63AB-48AD-B9D6-2069ADD8C600}" dt="2022-08-19T22:55:51.284" v="2347" actId="1076"/>
          <ac:spMkLst>
            <pc:docMk/>
            <pc:sldMk cId="1524061278" sldId="383"/>
            <ac:spMk id="257" creationId="{00000000-0000-0000-0000-000000000000}"/>
          </ac:spMkLst>
        </pc:spChg>
      </pc:sldChg>
      <pc:sldChg chg="modSp del mod">
        <pc:chgData name="Javier Trujillo" userId="32d8328a-de3f-445e-867d-9214b7ae5b6a" providerId="ADAL" clId="{345DE1AF-63AB-48AD-B9D6-2069ADD8C600}" dt="2022-08-19T17:41:48.418" v="142" actId="47"/>
        <pc:sldMkLst>
          <pc:docMk/>
          <pc:sldMk cId="2920114140" sldId="388"/>
        </pc:sldMkLst>
        <pc:spChg chg="mod">
          <ac:chgData name="Javier Trujillo" userId="32d8328a-de3f-445e-867d-9214b7ae5b6a" providerId="ADAL" clId="{345DE1AF-63AB-48AD-B9D6-2069ADD8C600}" dt="2022-08-18T20:13:51.542" v="87"/>
          <ac:spMkLst>
            <pc:docMk/>
            <pc:sldMk cId="2920114140" sldId="388"/>
            <ac:spMk id="7" creationId="{CCF123CA-1273-4344-AA8A-B22DED89E433}"/>
          </ac:spMkLst>
        </pc:spChg>
        <pc:spChg chg="mod">
          <ac:chgData name="Javier Trujillo" userId="32d8328a-de3f-445e-867d-9214b7ae5b6a" providerId="ADAL" clId="{345DE1AF-63AB-48AD-B9D6-2069ADD8C600}" dt="2022-08-18T20:26:20.125" v="124" actId="14100"/>
          <ac:spMkLst>
            <pc:docMk/>
            <pc:sldMk cId="2920114140" sldId="388"/>
            <ac:spMk id="11" creationId="{CCF123CA-1273-4344-AA8A-B22DED89E433}"/>
          </ac:spMkLst>
        </pc:spChg>
        <pc:graphicFrameChg chg="mod">
          <ac:chgData name="Javier Trujillo" userId="32d8328a-de3f-445e-867d-9214b7ae5b6a" providerId="ADAL" clId="{345DE1AF-63AB-48AD-B9D6-2069ADD8C600}" dt="2022-08-18T20:22:50.841" v="122"/>
          <ac:graphicFrameMkLst>
            <pc:docMk/>
            <pc:sldMk cId="2920114140" sldId="388"/>
            <ac:graphicFrameMk id="8" creationId="{00000000-0008-0000-0000-000007000000}"/>
          </ac:graphicFrameMkLst>
        </pc:graphicFrameChg>
      </pc:sldChg>
      <pc:sldChg chg="modSp mod">
        <pc:chgData name="Javier Trujillo" userId="32d8328a-de3f-445e-867d-9214b7ae5b6a" providerId="ADAL" clId="{345DE1AF-63AB-48AD-B9D6-2069ADD8C600}" dt="2022-08-19T23:10:13.831" v="2718" actId="20577"/>
        <pc:sldMkLst>
          <pc:docMk/>
          <pc:sldMk cId="3227044999" sldId="389"/>
        </pc:sldMkLst>
        <pc:spChg chg="mod">
          <ac:chgData name="Javier Trujillo" userId="32d8328a-de3f-445e-867d-9214b7ae5b6a" providerId="ADAL" clId="{345DE1AF-63AB-48AD-B9D6-2069ADD8C600}" dt="2022-08-19T23:07:20.640" v="2517" actId="1076"/>
          <ac:spMkLst>
            <pc:docMk/>
            <pc:sldMk cId="3227044999" sldId="389"/>
            <ac:spMk id="2" creationId="{00000000-0000-0000-0000-000000000000}"/>
          </ac:spMkLst>
        </pc:spChg>
        <pc:spChg chg="mod">
          <ac:chgData name="Javier Trujillo" userId="32d8328a-de3f-445e-867d-9214b7ae5b6a" providerId="ADAL" clId="{345DE1AF-63AB-48AD-B9D6-2069ADD8C600}" dt="2022-08-19T23:06:58.572" v="2515" actId="313"/>
          <ac:spMkLst>
            <pc:docMk/>
            <pc:sldMk cId="3227044999" sldId="389"/>
            <ac:spMk id="3" creationId="{00000000-0000-0000-0000-000000000000}"/>
          </ac:spMkLst>
        </pc:spChg>
        <pc:spChg chg="mod">
          <ac:chgData name="Javier Trujillo" userId="32d8328a-de3f-445e-867d-9214b7ae5b6a" providerId="ADAL" clId="{345DE1AF-63AB-48AD-B9D6-2069ADD8C600}" dt="2022-08-19T23:09:50.708" v="2712" actId="20577"/>
          <ac:spMkLst>
            <pc:docMk/>
            <pc:sldMk cId="3227044999" sldId="389"/>
            <ac:spMk id="4" creationId="{00000000-0000-0000-0000-000000000000}"/>
          </ac:spMkLst>
        </pc:spChg>
        <pc:spChg chg="mod">
          <ac:chgData name="Javier Trujillo" userId="32d8328a-de3f-445e-867d-9214b7ae5b6a" providerId="ADAL" clId="{345DE1AF-63AB-48AD-B9D6-2069ADD8C600}" dt="2022-08-19T23:08:25.921" v="2552" actId="20577"/>
          <ac:spMkLst>
            <pc:docMk/>
            <pc:sldMk cId="3227044999" sldId="389"/>
            <ac:spMk id="5" creationId="{00000000-0000-0000-0000-000000000000}"/>
          </ac:spMkLst>
        </pc:spChg>
        <pc:spChg chg="mod">
          <ac:chgData name="Javier Trujillo" userId="32d8328a-de3f-445e-867d-9214b7ae5b6a" providerId="ADAL" clId="{345DE1AF-63AB-48AD-B9D6-2069ADD8C600}" dt="2022-08-19T23:10:13.831" v="2718" actId="20577"/>
          <ac:spMkLst>
            <pc:docMk/>
            <pc:sldMk cId="3227044999" sldId="389"/>
            <ac:spMk id="6" creationId="{00000000-0000-0000-0000-000000000000}"/>
          </ac:spMkLst>
        </pc:spChg>
        <pc:grpChg chg="mod">
          <ac:chgData name="Javier Trujillo" userId="32d8328a-de3f-445e-867d-9214b7ae5b6a" providerId="ADAL" clId="{345DE1AF-63AB-48AD-B9D6-2069ADD8C600}" dt="2022-08-19T23:07:24.534" v="2518" actId="1076"/>
          <ac:grpSpMkLst>
            <pc:docMk/>
            <pc:sldMk cId="3227044999" sldId="389"/>
            <ac:grpSpMk id="116" creationId="{00000000-0000-0000-0000-000000000000}"/>
          </ac:grpSpMkLst>
        </pc:grpChg>
      </pc:sldChg>
      <pc:sldChg chg="modSp mod">
        <pc:chgData name="Javier Trujillo" userId="32d8328a-de3f-445e-867d-9214b7ae5b6a" providerId="ADAL" clId="{345DE1AF-63AB-48AD-B9D6-2069ADD8C600}" dt="2022-08-19T20:13:12.583" v="827" actId="20577"/>
        <pc:sldMkLst>
          <pc:docMk/>
          <pc:sldMk cId="2198548766" sldId="395"/>
        </pc:sldMkLst>
        <pc:spChg chg="mod">
          <ac:chgData name="Javier Trujillo" userId="32d8328a-de3f-445e-867d-9214b7ae5b6a" providerId="ADAL" clId="{345DE1AF-63AB-48AD-B9D6-2069ADD8C600}" dt="2022-08-19T20:12:32.306" v="809" actId="113"/>
          <ac:spMkLst>
            <pc:docMk/>
            <pc:sldMk cId="2198548766" sldId="395"/>
            <ac:spMk id="5" creationId="{00000000-0000-0000-0000-000000000000}"/>
          </ac:spMkLst>
        </pc:spChg>
        <pc:spChg chg="mod">
          <ac:chgData name="Javier Trujillo" userId="32d8328a-de3f-445e-867d-9214b7ae5b6a" providerId="ADAL" clId="{345DE1AF-63AB-48AD-B9D6-2069ADD8C600}" dt="2022-08-19T17:50:27.222" v="170"/>
          <ac:spMkLst>
            <pc:docMk/>
            <pc:sldMk cId="2198548766" sldId="395"/>
            <ac:spMk id="17" creationId="{00000000-0000-0000-0000-000000000000}"/>
          </ac:spMkLst>
        </pc:spChg>
        <pc:spChg chg="mod">
          <ac:chgData name="Javier Trujillo" userId="32d8328a-de3f-445e-867d-9214b7ae5b6a" providerId="ADAL" clId="{345DE1AF-63AB-48AD-B9D6-2069ADD8C600}" dt="2022-08-19T17:50:31.044" v="171"/>
          <ac:spMkLst>
            <pc:docMk/>
            <pc:sldMk cId="2198548766" sldId="395"/>
            <ac:spMk id="18" creationId="{00000000-0000-0000-0000-000000000000}"/>
          </ac:spMkLst>
        </pc:spChg>
        <pc:spChg chg="mod">
          <ac:chgData name="Javier Trujillo" userId="32d8328a-de3f-445e-867d-9214b7ae5b6a" providerId="ADAL" clId="{345DE1AF-63AB-48AD-B9D6-2069ADD8C600}" dt="2022-08-19T17:50:35.498" v="172"/>
          <ac:spMkLst>
            <pc:docMk/>
            <pc:sldMk cId="2198548766" sldId="395"/>
            <ac:spMk id="19" creationId="{00000000-0000-0000-0000-000000000000}"/>
          </ac:spMkLst>
        </pc:spChg>
        <pc:spChg chg="mod">
          <ac:chgData name="Javier Trujillo" userId="32d8328a-de3f-445e-867d-9214b7ae5b6a" providerId="ADAL" clId="{345DE1AF-63AB-48AD-B9D6-2069ADD8C600}" dt="2022-08-19T20:12:41.253" v="810" actId="113"/>
          <ac:spMkLst>
            <pc:docMk/>
            <pc:sldMk cId="2198548766" sldId="395"/>
            <ac:spMk id="45" creationId="{00000000-0000-0000-0000-000000000000}"/>
          </ac:spMkLst>
        </pc:spChg>
        <pc:spChg chg="mod">
          <ac:chgData name="Javier Trujillo" userId="32d8328a-de3f-445e-867d-9214b7ae5b6a" providerId="ADAL" clId="{345DE1AF-63AB-48AD-B9D6-2069ADD8C600}" dt="2022-08-19T20:13:12.583" v="827" actId="20577"/>
          <ac:spMkLst>
            <pc:docMk/>
            <pc:sldMk cId="2198548766" sldId="395"/>
            <ac:spMk id="47" creationId="{00000000-0000-0000-0000-000000000000}"/>
          </ac:spMkLst>
        </pc:spChg>
        <pc:spChg chg="mod">
          <ac:chgData name="Javier Trujillo" userId="32d8328a-de3f-445e-867d-9214b7ae5b6a" providerId="ADAL" clId="{345DE1AF-63AB-48AD-B9D6-2069ADD8C600}" dt="2022-08-19T17:50:23.071" v="169"/>
          <ac:spMkLst>
            <pc:docMk/>
            <pc:sldMk cId="2198548766" sldId="395"/>
            <ac:spMk id="66" creationId="{00000000-0000-0000-0000-000000000000}"/>
          </ac:spMkLst>
        </pc:spChg>
      </pc:sldChg>
      <pc:sldChg chg="modSp mod ord">
        <pc:chgData name="Javier Trujillo" userId="32d8328a-de3f-445e-867d-9214b7ae5b6a" providerId="ADAL" clId="{345DE1AF-63AB-48AD-B9D6-2069ADD8C600}" dt="2022-08-19T20:14:40.007" v="836" actId="1076"/>
        <pc:sldMkLst>
          <pc:docMk/>
          <pc:sldMk cId="2482208497" sldId="2930"/>
        </pc:sldMkLst>
        <pc:spChg chg="mod">
          <ac:chgData name="Javier Trujillo" userId="32d8328a-de3f-445e-867d-9214b7ae5b6a" providerId="ADAL" clId="{345DE1AF-63AB-48AD-B9D6-2069ADD8C600}" dt="2022-08-19T18:13:33.974" v="272" actId="1076"/>
          <ac:spMkLst>
            <pc:docMk/>
            <pc:sldMk cId="2482208497" sldId="2930"/>
            <ac:spMk id="7" creationId="{F40AEAED-FE07-43C2-8153-8709D3ED9A39}"/>
          </ac:spMkLst>
        </pc:spChg>
        <pc:spChg chg="mod">
          <ac:chgData name="Javier Trujillo" userId="32d8328a-de3f-445e-867d-9214b7ae5b6a" providerId="ADAL" clId="{345DE1AF-63AB-48AD-B9D6-2069ADD8C600}" dt="2022-08-19T18:12:39.619" v="264" actId="20577"/>
          <ac:spMkLst>
            <pc:docMk/>
            <pc:sldMk cId="2482208497" sldId="2930"/>
            <ac:spMk id="8" creationId="{D6822AF2-AF5F-4484-86B8-3B4F7579E0A1}"/>
          </ac:spMkLst>
        </pc:spChg>
        <pc:spChg chg="mod">
          <ac:chgData name="Javier Trujillo" userId="32d8328a-de3f-445e-867d-9214b7ae5b6a" providerId="ADAL" clId="{345DE1AF-63AB-48AD-B9D6-2069ADD8C600}" dt="2022-08-18T19:52:44.230" v="7"/>
          <ac:spMkLst>
            <pc:docMk/>
            <pc:sldMk cId="2482208497" sldId="2930"/>
            <ac:spMk id="10" creationId="{4C3ADC75-4E44-4F39-9BE5-6297F61BCC84}"/>
          </ac:spMkLst>
        </pc:spChg>
        <pc:spChg chg="mod">
          <ac:chgData name="Javier Trujillo" userId="32d8328a-de3f-445e-867d-9214b7ae5b6a" providerId="ADAL" clId="{345DE1AF-63AB-48AD-B9D6-2069ADD8C600}" dt="2022-08-18T19:52:51.909" v="8"/>
          <ac:spMkLst>
            <pc:docMk/>
            <pc:sldMk cId="2482208497" sldId="2930"/>
            <ac:spMk id="11" creationId="{15F7F155-37C3-4F1E-A765-F14EB5A27032}"/>
          </ac:spMkLst>
        </pc:spChg>
        <pc:spChg chg="mod">
          <ac:chgData name="Javier Trujillo" userId="32d8328a-de3f-445e-867d-9214b7ae5b6a" providerId="ADAL" clId="{345DE1AF-63AB-48AD-B9D6-2069ADD8C600}" dt="2022-08-19T20:14:40.007" v="836" actId="1076"/>
          <ac:spMkLst>
            <pc:docMk/>
            <pc:sldMk cId="2482208497" sldId="2930"/>
            <ac:spMk id="13" creationId="{DD902639-13FB-4CA3-8215-BA7D1FF404AA}"/>
          </ac:spMkLst>
        </pc:spChg>
        <pc:spChg chg="mod">
          <ac:chgData name="Javier Trujillo" userId="32d8328a-de3f-445e-867d-9214b7ae5b6a" providerId="ADAL" clId="{345DE1AF-63AB-48AD-B9D6-2069ADD8C600}" dt="2022-08-19T18:13:14.008" v="269" actId="255"/>
          <ac:spMkLst>
            <pc:docMk/>
            <pc:sldMk cId="2482208497" sldId="2930"/>
            <ac:spMk id="15" creationId="{9202E0E8-5D35-4302-9F37-1E5D99C178CB}"/>
          </ac:spMkLst>
        </pc:spChg>
        <pc:spChg chg="mod">
          <ac:chgData name="Javier Trujillo" userId="32d8328a-de3f-445e-867d-9214b7ae5b6a" providerId="ADAL" clId="{345DE1AF-63AB-48AD-B9D6-2069ADD8C600}" dt="2022-08-18T19:52:33.611" v="6"/>
          <ac:spMkLst>
            <pc:docMk/>
            <pc:sldMk cId="2482208497" sldId="2930"/>
            <ac:spMk id="16" creationId="{F4E73084-FC5C-4ABF-945F-269FBB7C330D}"/>
          </ac:spMkLst>
        </pc:spChg>
        <pc:spChg chg="mod">
          <ac:chgData name="Javier Trujillo" userId="32d8328a-de3f-445e-867d-9214b7ae5b6a" providerId="ADAL" clId="{345DE1AF-63AB-48AD-B9D6-2069ADD8C600}" dt="2022-08-19T20:14:23.055" v="833" actId="20577"/>
          <ac:spMkLst>
            <pc:docMk/>
            <pc:sldMk cId="2482208497" sldId="2930"/>
            <ac:spMk id="17" creationId="{F7AFD6CD-3F7B-434B-B317-D8A2BC977DEF}"/>
          </ac:spMkLst>
        </pc:spChg>
        <pc:spChg chg="mod">
          <ac:chgData name="Javier Trujillo" userId="32d8328a-de3f-445e-867d-9214b7ae5b6a" providerId="ADAL" clId="{345DE1AF-63AB-48AD-B9D6-2069ADD8C600}" dt="2022-08-19T18:13:07.919" v="268" actId="255"/>
          <ac:spMkLst>
            <pc:docMk/>
            <pc:sldMk cId="2482208497" sldId="2930"/>
            <ac:spMk id="18" creationId="{C65E34D8-F1B0-45E7-9B74-DC71E4B55BE8}"/>
          </ac:spMkLst>
        </pc:spChg>
      </pc:sldChg>
      <pc:sldChg chg="modSp mod">
        <pc:chgData name="Javier Trujillo" userId="32d8328a-de3f-445e-867d-9214b7ae5b6a" providerId="ADAL" clId="{345DE1AF-63AB-48AD-B9D6-2069ADD8C600}" dt="2022-08-19T22:58:45.562" v="2358" actId="255"/>
        <pc:sldMkLst>
          <pc:docMk/>
          <pc:sldMk cId="3032848800" sldId="4174"/>
        </pc:sldMkLst>
        <pc:spChg chg="mod">
          <ac:chgData name="Javier Trujillo" userId="32d8328a-de3f-445e-867d-9214b7ae5b6a" providerId="ADAL" clId="{345DE1AF-63AB-48AD-B9D6-2069ADD8C600}" dt="2022-08-19T22:58:45.562" v="2358" actId="255"/>
          <ac:spMkLst>
            <pc:docMk/>
            <pc:sldMk cId="3032848800" sldId="4174"/>
            <ac:spMk id="7" creationId="{00000000-0000-0000-0000-000000000000}"/>
          </ac:spMkLst>
        </pc:spChg>
        <pc:spChg chg="mod">
          <ac:chgData name="Javier Trujillo" userId="32d8328a-de3f-445e-867d-9214b7ae5b6a" providerId="ADAL" clId="{345DE1AF-63AB-48AD-B9D6-2069ADD8C600}" dt="2022-08-19T17:54:50.642" v="220"/>
          <ac:spMkLst>
            <pc:docMk/>
            <pc:sldMk cId="3032848800" sldId="4174"/>
            <ac:spMk id="9" creationId="{068B114B-D6D0-49B4-A607-D903222C0F3B}"/>
          </ac:spMkLst>
        </pc:spChg>
        <pc:spChg chg="mod">
          <ac:chgData name="Javier Trujillo" userId="32d8328a-de3f-445e-867d-9214b7ae5b6a" providerId="ADAL" clId="{345DE1AF-63AB-48AD-B9D6-2069ADD8C600}" dt="2022-08-19T17:54:55.113" v="221"/>
          <ac:spMkLst>
            <pc:docMk/>
            <pc:sldMk cId="3032848800" sldId="4174"/>
            <ac:spMk id="10" creationId="{41F80DD7-79F9-4585-9F00-6DF647429F60}"/>
          </ac:spMkLst>
        </pc:spChg>
        <pc:graphicFrameChg chg="modGraphic">
          <ac:chgData name="Javier Trujillo" userId="32d8328a-de3f-445e-867d-9214b7ae5b6a" providerId="ADAL" clId="{345DE1AF-63AB-48AD-B9D6-2069ADD8C600}" dt="2022-08-19T17:55:09.407" v="223" actId="14734"/>
          <ac:graphicFrameMkLst>
            <pc:docMk/>
            <pc:sldMk cId="3032848800" sldId="4174"/>
            <ac:graphicFrameMk id="15" creationId="{5E8E5512-5BCB-FB42-AF0B-F9C48E5B9855}"/>
          </ac:graphicFrameMkLst>
        </pc:graphicFrameChg>
      </pc:sldChg>
      <pc:sldChg chg="modSp del mod">
        <pc:chgData name="Javier Trujillo" userId="32d8328a-de3f-445e-867d-9214b7ae5b6a" providerId="ADAL" clId="{345DE1AF-63AB-48AD-B9D6-2069ADD8C600}" dt="2022-08-19T18:47:16.089" v="572" actId="47"/>
        <pc:sldMkLst>
          <pc:docMk/>
          <pc:sldMk cId="2248010365" sldId="4198"/>
        </pc:sldMkLst>
        <pc:spChg chg="mod">
          <ac:chgData name="Javier Trujillo" userId="32d8328a-de3f-445e-867d-9214b7ae5b6a" providerId="ADAL" clId="{345DE1AF-63AB-48AD-B9D6-2069ADD8C600}" dt="2022-08-19T18:06:59.787" v="250" actId="27636"/>
          <ac:spMkLst>
            <pc:docMk/>
            <pc:sldMk cId="2248010365" sldId="4198"/>
            <ac:spMk id="2" creationId="{00000000-0000-0000-0000-000000000000}"/>
          </ac:spMkLst>
        </pc:spChg>
        <pc:graphicFrameChg chg="mod">
          <ac:chgData name="Javier Trujillo" userId="32d8328a-de3f-445e-867d-9214b7ae5b6a" providerId="ADAL" clId="{345DE1AF-63AB-48AD-B9D6-2069ADD8C600}" dt="2022-08-19T18:07:14.360" v="252"/>
          <ac:graphicFrameMkLst>
            <pc:docMk/>
            <pc:sldMk cId="2248010365" sldId="4198"/>
            <ac:graphicFrameMk id="5" creationId="{16BBF1B7-1B13-4D03-9BAA-6254D2629B5B}"/>
          </ac:graphicFrameMkLst>
        </pc:graphicFrameChg>
      </pc:sldChg>
      <pc:sldChg chg="modSp mod">
        <pc:chgData name="Javier Trujillo" userId="32d8328a-de3f-445e-867d-9214b7ae5b6a" providerId="ADAL" clId="{345DE1AF-63AB-48AD-B9D6-2069ADD8C600}" dt="2022-08-19T23:35:41.896" v="2850" actId="113"/>
        <pc:sldMkLst>
          <pc:docMk/>
          <pc:sldMk cId="3394054864" sldId="4202"/>
        </pc:sldMkLst>
        <pc:graphicFrameChg chg="mod">
          <ac:chgData name="Javier Trujillo" userId="32d8328a-de3f-445e-867d-9214b7ae5b6a" providerId="ADAL" clId="{345DE1AF-63AB-48AD-B9D6-2069ADD8C600}" dt="2022-08-19T23:35:41.896" v="2850" actId="113"/>
          <ac:graphicFrameMkLst>
            <pc:docMk/>
            <pc:sldMk cId="3394054864" sldId="4202"/>
            <ac:graphicFrameMk id="4" creationId="{6C53E84B-32BF-7B42-BBAB-FB2B82B588E4}"/>
          </ac:graphicFrameMkLst>
        </pc:graphicFrameChg>
      </pc:sldChg>
      <pc:sldChg chg="modSp del mod">
        <pc:chgData name="Javier Trujillo" userId="32d8328a-de3f-445e-867d-9214b7ae5b6a" providerId="ADAL" clId="{345DE1AF-63AB-48AD-B9D6-2069ADD8C600}" dt="2022-08-19T20:06:44.700" v="661" actId="47"/>
        <pc:sldMkLst>
          <pc:docMk/>
          <pc:sldMk cId="1819962068" sldId="4203"/>
        </pc:sldMkLst>
        <pc:spChg chg="mod">
          <ac:chgData name="Javier Trujillo" userId="32d8328a-de3f-445e-867d-9214b7ae5b6a" providerId="ADAL" clId="{345DE1AF-63AB-48AD-B9D6-2069ADD8C600}" dt="2022-08-19T17:54:00.700" v="218" actId="255"/>
          <ac:spMkLst>
            <pc:docMk/>
            <pc:sldMk cId="1819962068" sldId="4203"/>
            <ac:spMk id="2" creationId="{D0EB64B9-6F1D-4243-84FD-685D9D95DD4E}"/>
          </ac:spMkLst>
        </pc:spChg>
      </pc:sldChg>
      <pc:sldChg chg="modSp mod">
        <pc:chgData name="Javier Trujillo" userId="32d8328a-de3f-445e-867d-9214b7ae5b6a" providerId="ADAL" clId="{345DE1AF-63AB-48AD-B9D6-2069ADD8C600}" dt="2022-08-19T18:49:14.662" v="604" actId="20577"/>
        <pc:sldMkLst>
          <pc:docMk/>
          <pc:sldMk cId="3839149521" sldId="4206"/>
        </pc:sldMkLst>
        <pc:spChg chg="mod">
          <ac:chgData name="Javier Trujillo" userId="32d8328a-de3f-445e-867d-9214b7ae5b6a" providerId="ADAL" clId="{345DE1AF-63AB-48AD-B9D6-2069ADD8C600}" dt="2022-08-19T18:48:01.765" v="580" actId="20577"/>
          <ac:spMkLst>
            <pc:docMk/>
            <pc:sldMk cId="3839149521" sldId="4206"/>
            <ac:spMk id="2" creationId="{D0EB64B9-6F1D-4243-84FD-685D9D95DD4E}"/>
          </ac:spMkLst>
        </pc:spChg>
        <pc:spChg chg="mod">
          <ac:chgData name="Javier Trujillo" userId="32d8328a-de3f-445e-867d-9214b7ae5b6a" providerId="ADAL" clId="{345DE1AF-63AB-48AD-B9D6-2069ADD8C600}" dt="2022-08-19T18:49:14.662" v="604" actId="20577"/>
          <ac:spMkLst>
            <pc:docMk/>
            <pc:sldMk cId="3839149521" sldId="4206"/>
            <ac:spMk id="3" creationId="{17E4D4FF-F526-4072-840E-08976B2C5605}"/>
          </ac:spMkLst>
        </pc:spChg>
      </pc:sldChg>
      <pc:sldChg chg="modSp mod">
        <pc:chgData name="Javier Trujillo" userId="32d8328a-de3f-445e-867d-9214b7ae5b6a" providerId="ADAL" clId="{345DE1AF-63AB-48AD-B9D6-2069ADD8C600}" dt="2022-08-19T20:05:49.671" v="660" actId="20577"/>
        <pc:sldMkLst>
          <pc:docMk/>
          <pc:sldMk cId="3599474042" sldId="4207"/>
        </pc:sldMkLst>
        <pc:spChg chg="mod">
          <ac:chgData name="Javier Trujillo" userId="32d8328a-de3f-445e-867d-9214b7ae5b6a" providerId="ADAL" clId="{345DE1AF-63AB-48AD-B9D6-2069ADD8C600}" dt="2022-08-19T18:50:02.628" v="615" actId="20577"/>
          <ac:spMkLst>
            <pc:docMk/>
            <pc:sldMk cId="3599474042" sldId="4207"/>
            <ac:spMk id="2" creationId="{D0EB64B9-6F1D-4243-84FD-685D9D95DD4E}"/>
          </ac:spMkLst>
        </pc:spChg>
        <pc:spChg chg="mod">
          <ac:chgData name="Javier Trujillo" userId="32d8328a-de3f-445e-867d-9214b7ae5b6a" providerId="ADAL" clId="{345DE1AF-63AB-48AD-B9D6-2069ADD8C600}" dt="2022-08-19T20:05:49.671" v="660" actId="20577"/>
          <ac:spMkLst>
            <pc:docMk/>
            <pc:sldMk cId="3599474042" sldId="4207"/>
            <ac:spMk id="3" creationId="{17E4D4FF-F526-4072-840E-08976B2C5605}"/>
          </ac:spMkLst>
        </pc:spChg>
      </pc:sldChg>
      <pc:sldChg chg="modSp del mod">
        <pc:chgData name="Javier Trujillo" userId="32d8328a-de3f-445e-867d-9214b7ae5b6a" providerId="ADAL" clId="{345DE1AF-63AB-48AD-B9D6-2069ADD8C600}" dt="2022-08-19T22:50:46.693" v="2264" actId="47"/>
        <pc:sldMkLst>
          <pc:docMk/>
          <pc:sldMk cId="2890470812" sldId="4208"/>
        </pc:sldMkLst>
        <pc:spChg chg="mod">
          <ac:chgData name="Javier Trujillo" userId="32d8328a-de3f-445e-867d-9214b7ae5b6a" providerId="ADAL" clId="{345DE1AF-63AB-48AD-B9D6-2069ADD8C600}" dt="2022-08-18T20:00:42.988" v="30" actId="1076"/>
          <ac:spMkLst>
            <pc:docMk/>
            <pc:sldMk cId="2890470812" sldId="4208"/>
            <ac:spMk id="22" creationId="{00000000-0000-0000-0000-000000000000}"/>
          </ac:spMkLst>
        </pc:spChg>
        <pc:spChg chg="mod">
          <ac:chgData name="Javier Trujillo" userId="32d8328a-de3f-445e-867d-9214b7ae5b6a" providerId="ADAL" clId="{345DE1AF-63AB-48AD-B9D6-2069ADD8C600}" dt="2022-08-19T18:26:37.864" v="385" actId="255"/>
          <ac:spMkLst>
            <pc:docMk/>
            <pc:sldMk cId="2890470812" sldId="4208"/>
            <ac:spMk id="23" creationId="{00000000-0000-0000-0000-000000000000}"/>
          </ac:spMkLst>
        </pc:spChg>
        <pc:picChg chg="mod">
          <ac:chgData name="Javier Trujillo" userId="32d8328a-de3f-445e-867d-9214b7ae5b6a" providerId="ADAL" clId="{345DE1AF-63AB-48AD-B9D6-2069ADD8C600}" dt="2022-08-19T18:26:38.591" v="386" actId="1076"/>
          <ac:picMkLst>
            <pc:docMk/>
            <pc:sldMk cId="2890470812" sldId="4208"/>
            <ac:picMk id="7" creationId="{00000000-0000-0000-0000-000000000000}"/>
          </ac:picMkLst>
        </pc:picChg>
      </pc:sldChg>
      <pc:sldChg chg="addSp delSp modSp mod">
        <pc:chgData name="Javier Trujillo" userId="32d8328a-de3f-445e-867d-9214b7ae5b6a" providerId="ADAL" clId="{345DE1AF-63AB-48AD-B9D6-2069ADD8C600}" dt="2022-08-19T23:16:49.576" v="2735" actId="255"/>
        <pc:sldMkLst>
          <pc:docMk/>
          <pc:sldMk cId="2038788812" sldId="4209"/>
        </pc:sldMkLst>
        <pc:spChg chg="add del mod">
          <ac:chgData name="Javier Trujillo" userId="32d8328a-de3f-445e-867d-9214b7ae5b6a" providerId="ADAL" clId="{345DE1AF-63AB-48AD-B9D6-2069ADD8C600}" dt="2022-08-19T22:50:53.102" v="2265" actId="478"/>
          <ac:spMkLst>
            <pc:docMk/>
            <pc:sldMk cId="2038788812" sldId="4209"/>
            <ac:spMk id="3" creationId="{7CDE19E6-F3A0-E1C9-7DB0-81699BAC0B97}"/>
          </ac:spMkLst>
        </pc:spChg>
        <pc:spChg chg="add mod">
          <ac:chgData name="Javier Trujillo" userId="32d8328a-de3f-445e-867d-9214b7ae5b6a" providerId="ADAL" clId="{345DE1AF-63AB-48AD-B9D6-2069ADD8C600}" dt="2022-08-19T22:50:44.596" v="2263" actId="255"/>
          <ac:spMkLst>
            <pc:docMk/>
            <pc:sldMk cId="2038788812" sldId="4209"/>
            <ac:spMk id="4" creationId="{5490D634-E2F1-5D03-7437-39155879D799}"/>
          </ac:spMkLst>
        </pc:spChg>
        <pc:spChg chg="del mod">
          <ac:chgData name="Javier Trujillo" userId="32d8328a-de3f-445e-867d-9214b7ae5b6a" providerId="ADAL" clId="{345DE1AF-63AB-48AD-B9D6-2069ADD8C600}" dt="2022-08-19T22:49:52.064" v="2257" actId="478"/>
          <ac:spMkLst>
            <pc:docMk/>
            <pc:sldMk cId="2038788812" sldId="4209"/>
            <ac:spMk id="12" creationId="{00000000-0000-0000-0000-000000000000}"/>
          </ac:spMkLst>
        </pc:spChg>
        <pc:spChg chg="mod">
          <ac:chgData name="Javier Trujillo" userId="32d8328a-de3f-445e-867d-9214b7ae5b6a" providerId="ADAL" clId="{345DE1AF-63AB-48AD-B9D6-2069ADD8C600}" dt="2022-08-19T23:16:49.576" v="2735" actId="255"/>
          <ac:spMkLst>
            <pc:docMk/>
            <pc:sldMk cId="2038788812" sldId="4209"/>
            <ac:spMk id="18" creationId="{00000000-0000-0000-0000-000000000000}"/>
          </ac:spMkLst>
        </pc:spChg>
        <pc:spChg chg="mod">
          <ac:chgData name="Javier Trujillo" userId="32d8328a-de3f-445e-867d-9214b7ae5b6a" providerId="ADAL" clId="{345DE1AF-63AB-48AD-B9D6-2069ADD8C600}" dt="2022-08-19T18:28:51.880" v="401" actId="255"/>
          <ac:spMkLst>
            <pc:docMk/>
            <pc:sldMk cId="2038788812" sldId="4209"/>
            <ac:spMk id="22" creationId="{00000000-0000-0000-0000-000000000000}"/>
          </ac:spMkLst>
        </pc:spChg>
        <pc:spChg chg="mod">
          <ac:chgData name="Javier Trujillo" userId="32d8328a-de3f-445e-867d-9214b7ae5b6a" providerId="ADAL" clId="{345DE1AF-63AB-48AD-B9D6-2069ADD8C600}" dt="2022-08-19T23:16:36.368" v="2734" actId="255"/>
          <ac:spMkLst>
            <pc:docMk/>
            <pc:sldMk cId="2038788812" sldId="4209"/>
            <ac:spMk id="27" creationId="{00000000-0000-0000-0000-000000000000}"/>
          </ac:spMkLst>
        </pc:spChg>
        <pc:spChg chg="mod">
          <ac:chgData name="Javier Trujillo" userId="32d8328a-de3f-445e-867d-9214b7ae5b6a" providerId="ADAL" clId="{345DE1AF-63AB-48AD-B9D6-2069ADD8C600}" dt="2022-08-18T20:02:25.805" v="78" actId="255"/>
          <ac:spMkLst>
            <pc:docMk/>
            <pc:sldMk cId="2038788812" sldId="4209"/>
            <ac:spMk id="30" creationId="{00000000-0000-0000-0000-000000000000}"/>
          </ac:spMkLst>
        </pc:spChg>
        <pc:picChg chg="mod">
          <ac:chgData name="Javier Trujillo" userId="32d8328a-de3f-445e-867d-9214b7ae5b6a" providerId="ADAL" clId="{345DE1AF-63AB-48AD-B9D6-2069ADD8C600}" dt="2022-08-18T20:02:14.100" v="77" actId="1076"/>
          <ac:picMkLst>
            <pc:docMk/>
            <pc:sldMk cId="2038788812" sldId="4209"/>
            <ac:picMk id="13" creationId="{00000000-0000-0000-0000-000000000000}"/>
          </ac:picMkLst>
        </pc:picChg>
      </pc:sldChg>
      <pc:sldChg chg="delSp modSp mod ord delAnim">
        <pc:chgData name="Javier Trujillo" userId="32d8328a-de3f-445e-867d-9214b7ae5b6a" providerId="ADAL" clId="{345DE1AF-63AB-48AD-B9D6-2069ADD8C600}" dt="2022-08-19T22:23:29.058" v="2082"/>
        <pc:sldMkLst>
          <pc:docMk/>
          <pc:sldMk cId="872064915" sldId="4210"/>
        </pc:sldMkLst>
        <pc:spChg chg="mod">
          <ac:chgData name="Javier Trujillo" userId="32d8328a-de3f-445e-867d-9214b7ae5b6a" providerId="ADAL" clId="{345DE1AF-63AB-48AD-B9D6-2069ADD8C600}" dt="2022-08-19T18:35:14.743" v="459" actId="20577"/>
          <ac:spMkLst>
            <pc:docMk/>
            <pc:sldMk cId="872064915" sldId="4210"/>
            <ac:spMk id="21" creationId="{00000000-0000-0000-0000-000000000000}"/>
          </ac:spMkLst>
        </pc:spChg>
        <pc:spChg chg="mod">
          <ac:chgData name="Javier Trujillo" userId="32d8328a-de3f-445e-867d-9214b7ae5b6a" providerId="ADAL" clId="{345DE1AF-63AB-48AD-B9D6-2069ADD8C600}" dt="2022-08-19T18:34:49.768" v="437" actId="255"/>
          <ac:spMkLst>
            <pc:docMk/>
            <pc:sldMk cId="872064915" sldId="4210"/>
            <ac:spMk id="23" creationId="{00000000-0000-0000-0000-000000000000}"/>
          </ac:spMkLst>
        </pc:spChg>
        <pc:spChg chg="mod">
          <ac:chgData name="Javier Trujillo" userId="32d8328a-de3f-445e-867d-9214b7ae5b6a" providerId="ADAL" clId="{345DE1AF-63AB-48AD-B9D6-2069ADD8C600}" dt="2022-08-19T18:34:34.475" v="436" actId="14100"/>
          <ac:spMkLst>
            <pc:docMk/>
            <pc:sldMk cId="872064915" sldId="4210"/>
            <ac:spMk id="32" creationId="{00000000-0000-0000-0000-000000000000}"/>
          </ac:spMkLst>
        </pc:spChg>
        <pc:spChg chg="mod">
          <ac:chgData name="Javier Trujillo" userId="32d8328a-de3f-445e-867d-9214b7ae5b6a" providerId="ADAL" clId="{345DE1AF-63AB-48AD-B9D6-2069ADD8C600}" dt="2022-08-19T22:08:57.467" v="2058" actId="20577"/>
          <ac:spMkLst>
            <pc:docMk/>
            <pc:sldMk cId="872064915" sldId="4210"/>
            <ac:spMk id="34" creationId="{00000000-0000-0000-0000-000000000000}"/>
          </ac:spMkLst>
        </pc:spChg>
        <pc:spChg chg="del mod">
          <ac:chgData name="Javier Trujillo" userId="32d8328a-de3f-445e-867d-9214b7ae5b6a" providerId="ADAL" clId="{345DE1AF-63AB-48AD-B9D6-2069ADD8C600}" dt="2022-08-19T18:34:14.176" v="431" actId="478"/>
          <ac:spMkLst>
            <pc:docMk/>
            <pc:sldMk cId="872064915" sldId="4210"/>
            <ac:spMk id="35" creationId="{00000000-0000-0000-0000-000000000000}"/>
          </ac:spMkLst>
        </pc:spChg>
        <pc:spChg chg="mod">
          <ac:chgData name="Javier Trujillo" userId="32d8328a-de3f-445e-867d-9214b7ae5b6a" providerId="ADAL" clId="{345DE1AF-63AB-48AD-B9D6-2069ADD8C600}" dt="2022-08-19T21:28:14.637" v="1780" actId="20577"/>
          <ac:spMkLst>
            <pc:docMk/>
            <pc:sldMk cId="872064915" sldId="4210"/>
            <ac:spMk id="36" creationId="{00000000-0000-0000-0000-000000000000}"/>
          </ac:spMkLst>
        </pc:spChg>
        <pc:spChg chg="mod">
          <ac:chgData name="Javier Trujillo" userId="32d8328a-de3f-445e-867d-9214b7ae5b6a" providerId="ADAL" clId="{345DE1AF-63AB-48AD-B9D6-2069ADD8C600}" dt="2022-08-19T18:33:51.035" v="430" actId="1076"/>
          <ac:spMkLst>
            <pc:docMk/>
            <pc:sldMk cId="872064915" sldId="4210"/>
            <ac:spMk id="39" creationId="{00000000-0000-0000-0000-000000000000}"/>
          </ac:spMkLst>
        </pc:spChg>
      </pc:sldChg>
      <pc:sldChg chg="modSp del mod">
        <pc:chgData name="Javier Trujillo" userId="32d8328a-de3f-445e-867d-9214b7ae5b6a" providerId="ADAL" clId="{345DE1AF-63AB-48AD-B9D6-2069ADD8C600}" dt="2022-08-19T22:51:36.113" v="2266" actId="47"/>
        <pc:sldMkLst>
          <pc:docMk/>
          <pc:sldMk cId="3083504653" sldId="4211"/>
        </pc:sldMkLst>
        <pc:spChg chg="mod">
          <ac:chgData name="Javier Trujillo" userId="32d8328a-de3f-445e-867d-9214b7ae5b6a" providerId="ADAL" clId="{345DE1AF-63AB-48AD-B9D6-2069ADD8C600}" dt="2022-08-19T17:48:37.121" v="159" actId="1076"/>
          <ac:spMkLst>
            <pc:docMk/>
            <pc:sldMk cId="3083504653" sldId="4211"/>
            <ac:spMk id="13" creationId="{00000000-0000-0000-0000-000000000000}"/>
          </ac:spMkLst>
        </pc:spChg>
        <pc:spChg chg="mod">
          <ac:chgData name="Javier Trujillo" userId="32d8328a-de3f-445e-867d-9214b7ae5b6a" providerId="ADAL" clId="{345DE1AF-63AB-48AD-B9D6-2069ADD8C600}" dt="2022-08-19T17:48:15.485" v="156"/>
          <ac:spMkLst>
            <pc:docMk/>
            <pc:sldMk cId="3083504653" sldId="4211"/>
            <ac:spMk id="20" creationId="{00000000-0000-0000-0000-000000000000}"/>
          </ac:spMkLst>
        </pc:spChg>
        <pc:spChg chg="mod">
          <ac:chgData name="Javier Trujillo" userId="32d8328a-de3f-445e-867d-9214b7ae5b6a" providerId="ADAL" clId="{345DE1AF-63AB-48AD-B9D6-2069ADD8C600}" dt="2022-08-19T17:48:24.509" v="157" actId="1076"/>
          <ac:spMkLst>
            <pc:docMk/>
            <pc:sldMk cId="3083504653" sldId="4211"/>
            <ac:spMk id="21" creationId="{00000000-0000-0000-0000-000000000000}"/>
          </ac:spMkLst>
        </pc:spChg>
        <pc:spChg chg="mod">
          <ac:chgData name="Javier Trujillo" userId="32d8328a-de3f-445e-867d-9214b7ae5b6a" providerId="ADAL" clId="{345DE1AF-63AB-48AD-B9D6-2069ADD8C600}" dt="2022-08-19T17:48:11.391" v="155"/>
          <ac:spMkLst>
            <pc:docMk/>
            <pc:sldMk cId="3083504653" sldId="4211"/>
            <ac:spMk id="32" creationId="{00000000-0000-0000-0000-000000000000}"/>
          </ac:spMkLst>
        </pc:spChg>
        <pc:spChg chg="mod">
          <ac:chgData name="Javier Trujillo" userId="32d8328a-de3f-445e-867d-9214b7ae5b6a" providerId="ADAL" clId="{345DE1AF-63AB-48AD-B9D6-2069ADD8C600}" dt="2022-08-19T17:48:06.667" v="154"/>
          <ac:spMkLst>
            <pc:docMk/>
            <pc:sldMk cId="3083504653" sldId="4211"/>
            <ac:spMk id="33" creationId="{00000000-0000-0000-0000-000000000000}"/>
          </ac:spMkLst>
        </pc:spChg>
      </pc:sldChg>
      <pc:sldChg chg="modSp mod">
        <pc:chgData name="Javier Trujillo" userId="32d8328a-de3f-445e-867d-9214b7ae5b6a" providerId="ADAL" clId="{345DE1AF-63AB-48AD-B9D6-2069ADD8C600}" dt="2022-08-19T22:53:25.694" v="2316" actId="313"/>
        <pc:sldMkLst>
          <pc:docMk/>
          <pc:sldMk cId="1959631018" sldId="4212"/>
        </pc:sldMkLst>
        <pc:spChg chg="mod">
          <ac:chgData name="Javier Trujillo" userId="32d8328a-de3f-445e-867d-9214b7ae5b6a" providerId="ADAL" clId="{345DE1AF-63AB-48AD-B9D6-2069ADD8C600}" dt="2022-08-19T18:43:12.821" v="555" actId="255"/>
          <ac:spMkLst>
            <pc:docMk/>
            <pc:sldMk cId="1959631018" sldId="4212"/>
            <ac:spMk id="70" creationId="{00000000-0000-0000-0000-000000000000}"/>
          </ac:spMkLst>
        </pc:spChg>
        <pc:spChg chg="mod">
          <ac:chgData name="Javier Trujillo" userId="32d8328a-de3f-445e-867d-9214b7ae5b6a" providerId="ADAL" clId="{345DE1AF-63AB-48AD-B9D6-2069ADD8C600}" dt="2022-08-19T22:53:25.694" v="2316" actId="313"/>
          <ac:spMkLst>
            <pc:docMk/>
            <pc:sldMk cId="1959631018" sldId="4212"/>
            <ac:spMk id="73" creationId="{00000000-0000-0000-0000-000000000000}"/>
          </ac:spMkLst>
        </pc:spChg>
        <pc:spChg chg="mod">
          <ac:chgData name="Javier Trujillo" userId="32d8328a-de3f-445e-867d-9214b7ae5b6a" providerId="ADAL" clId="{345DE1AF-63AB-48AD-B9D6-2069ADD8C600}" dt="2022-08-19T17:49:00.095" v="163"/>
          <ac:spMkLst>
            <pc:docMk/>
            <pc:sldMk cId="1959631018" sldId="4212"/>
            <ac:spMk id="240" creationId="{00000000-0000-0000-0000-000000000000}"/>
          </ac:spMkLst>
        </pc:spChg>
        <pc:spChg chg="mod">
          <ac:chgData name="Javier Trujillo" userId="32d8328a-de3f-445e-867d-9214b7ae5b6a" providerId="ADAL" clId="{345DE1AF-63AB-48AD-B9D6-2069ADD8C600}" dt="2022-08-19T18:40:49.626" v="489" actId="1076"/>
          <ac:spMkLst>
            <pc:docMk/>
            <pc:sldMk cId="1959631018" sldId="4212"/>
            <ac:spMk id="289" creationId="{00000000-0000-0000-0000-000000000000}"/>
          </ac:spMkLst>
        </pc:spChg>
        <pc:spChg chg="mod">
          <ac:chgData name="Javier Trujillo" userId="32d8328a-de3f-445e-867d-9214b7ae5b6a" providerId="ADAL" clId="{345DE1AF-63AB-48AD-B9D6-2069ADD8C600}" dt="2022-08-19T18:41:59.766" v="518" actId="20577"/>
          <ac:spMkLst>
            <pc:docMk/>
            <pc:sldMk cId="1959631018" sldId="4212"/>
            <ac:spMk id="419" creationId="{00000000-0000-0000-0000-000000000000}"/>
          </ac:spMkLst>
        </pc:spChg>
        <pc:spChg chg="mod">
          <ac:chgData name="Javier Trujillo" userId="32d8328a-de3f-445e-867d-9214b7ae5b6a" providerId="ADAL" clId="{345DE1AF-63AB-48AD-B9D6-2069ADD8C600}" dt="2022-08-19T17:48:48.406" v="161"/>
          <ac:spMkLst>
            <pc:docMk/>
            <pc:sldMk cId="1959631018" sldId="4212"/>
            <ac:spMk id="421" creationId="{00000000-0000-0000-0000-000000000000}"/>
          </ac:spMkLst>
        </pc:spChg>
        <pc:spChg chg="mod">
          <ac:chgData name="Javier Trujillo" userId="32d8328a-de3f-445e-867d-9214b7ae5b6a" providerId="ADAL" clId="{345DE1AF-63AB-48AD-B9D6-2069ADD8C600}" dt="2022-08-19T17:49:12.237" v="165"/>
          <ac:spMkLst>
            <pc:docMk/>
            <pc:sldMk cId="1959631018" sldId="4212"/>
            <ac:spMk id="425" creationId="{00000000-0000-0000-0000-000000000000}"/>
          </ac:spMkLst>
        </pc:spChg>
      </pc:sldChg>
      <pc:sldChg chg="del">
        <pc:chgData name="Javier Trujillo" userId="32d8328a-de3f-445e-867d-9214b7ae5b6a" providerId="ADAL" clId="{345DE1AF-63AB-48AD-B9D6-2069ADD8C600}" dt="2022-08-19T17:49:36.174" v="168" actId="47"/>
        <pc:sldMkLst>
          <pc:docMk/>
          <pc:sldMk cId="2409441184" sldId="4213"/>
        </pc:sldMkLst>
      </pc:sldChg>
      <pc:sldChg chg="del">
        <pc:chgData name="Javier Trujillo" userId="32d8328a-de3f-445e-867d-9214b7ae5b6a" providerId="ADAL" clId="{345DE1AF-63AB-48AD-B9D6-2069ADD8C600}" dt="2022-08-19T20:06:48.749" v="662" actId="47"/>
        <pc:sldMkLst>
          <pc:docMk/>
          <pc:sldMk cId="3168091995" sldId="4214"/>
        </pc:sldMkLst>
      </pc:sldChg>
      <pc:sldChg chg="modSp mod">
        <pc:chgData name="Javier Trujillo" userId="32d8328a-de3f-445e-867d-9214b7ae5b6a" providerId="ADAL" clId="{345DE1AF-63AB-48AD-B9D6-2069ADD8C600}" dt="2022-08-19T23:15:34.925" v="2733" actId="113"/>
        <pc:sldMkLst>
          <pc:docMk/>
          <pc:sldMk cId="3088951364" sldId="4215"/>
        </pc:sldMkLst>
        <pc:spChg chg="mod">
          <ac:chgData name="Javier Trujillo" userId="32d8328a-de3f-445e-867d-9214b7ae5b6a" providerId="ADAL" clId="{345DE1AF-63AB-48AD-B9D6-2069ADD8C600}" dt="2022-08-19T18:14:08.425" v="277" actId="1076"/>
          <ac:spMkLst>
            <pc:docMk/>
            <pc:sldMk cId="3088951364" sldId="4215"/>
            <ac:spMk id="2" creationId="{F4999950-C5C6-5F49-8F0C-1FC1F63673A2}"/>
          </ac:spMkLst>
        </pc:spChg>
        <pc:spChg chg="mod">
          <ac:chgData name="Javier Trujillo" userId="32d8328a-de3f-445e-867d-9214b7ae5b6a" providerId="ADAL" clId="{345DE1AF-63AB-48AD-B9D6-2069ADD8C600}" dt="2022-08-19T23:15:34.925" v="2733" actId="113"/>
          <ac:spMkLst>
            <pc:docMk/>
            <pc:sldMk cId="3088951364" sldId="4215"/>
            <ac:spMk id="68" creationId="{00000000-0000-0000-0000-000000000000}"/>
          </ac:spMkLst>
        </pc:spChg>
      </pc:sldChg>
      <pc:sldChg chg="addSp delSp modSp new del mod">
        <pc:chgData name="Javier Trujillo" userId="32d8328a-de3f-445e-867d-9214b7ae5b6a" providerId="ADAL" clId="{345DE1AF-63AB-48AD-B9D6-2069ADD8C600}" dt="2022-08-19T17:41:45.988" v="141" actId="47"/>
        <pc:sldMkLst>
          <pc:docMk/>
          <pc:sldMk cId="83397673" sldId="4216"/>
        </pc:sldMkLst>
        <pc:spChg chg="add mod">
          <ac:chgData name="Javier Trujillo" userId="32d8328a-de3f-445e-867d-9214b7ae5b6a" providerId="ADAL" clId="{345DE1AF-63AB-48AD-B9D6-2069ADD8C600}" dt="2022-08-18T20:18:23.707" v="96"/>
          <ac:spMkLst>
            <pc:docMk/>
            <pc:sldMk cId="83397673" sldId="4216"/>
            <ac:spMk id="5" creationId="{9A7E0C3F-FDD0-1C8E-11D3-C74D91316F41}"/>
          </ac:spMkLst>
        </pc:spChg>
        <pc:spChg chg="add mod">
          <ac:chgData name="Javier Trujillo" userId="32d8328a-de3f-445e-867d-9214b7ae5b6a" providerId="ADAL" clId="{345DE1AF-63AB-48AD-B9D6-2069ADD8C600}" dt="2022-08-18T20:18:35.962" v="97"/>
          <ac:spMkLst>
            <pc:docMk/>
            <pc:sldMk cId="83397673" sldId="4216"/>
            <ac:spMk id="6" creationId="{58C02CA8-0252-0947-B21E-41EFC9563CFA}"/>
          </ac:spMkLst>
        </pc:spChg>
        <pc:graphicFrameChg chg="add del mod">
          <ac:chgData name="Javier Trujillo" userId="32d8328a-de3f-445e-867d-9214b7ae5b6a" providerId="ADAL" clId="{345DE1AF-63AB-48AD-B9D6-2069ADD8C600}" dt="2022-08-18T20:19:19.909" v="101"/>
          <ac:graphicFrameMkLst>
            <pc:docMk/>
            <pc:sldMk cId="83397673" sldId="4216"/>
            <ac:graphicFrameMk id="7" creationId="{07C9D5A7-621A-FB2E-027C-9B6ACD5255AB}"/>
          </ac:graphicFrameMkLst>
        </pc:graphicFrameChg>
      </pc:sldChg>
      <pc:sldChg chg="addSp delSp modSp new mod">
        <pc:chgData name="Javier Trujillo" userId="32d8328a-de3f-445e-867d-9214b7ae5b6a" providerId="ADAL" clId="{345DE1AF-63AB-48AD-B9D6-2069ADD8C600}" dt="2022-08-19T23:26:00.557" v="2744" actId="1076"/>
        <pc:sldMkLst>
          <pc:docMk/>
          <pc:sldMk cId="2817865122" sldId="4217"/>
        </pc:sldMkLst>
        <pc:spChg chg="del mod">
          <ac:chgData name="Javier Trujillo" userId="32d8328a-de3f-445e-867d-9214b7ae5b6a" providerId="ADAL" clId="{345DE1AF-63AB-48AD-B9D6-2069ADD8C600}" dt="2022-08-18T20:21:19.747" v="114" actId="478"/>
          <ac:spMkLst>
            <pc:docMk/>
            <pc:sldMk cId="2817865122" sldId="4217"/>
            <ac:spMk id="2" creationId="{8DF3B2A7-79A9-89E4-8D64-83E4084F2CAB}"/>
          </ac:spMkLst>
        </pc:spChg>
        <pc:spChg chg="del">
          <ac:chgData name="Javier Trujillo" userId="32d8328a-de3f-445e-867d-9214b7ae5b6a" providerId="ADAL" clId="{345DE1AF-63AB-48AD-B9D6-2069ADD8C600}" dt="2022-08-18T20:21:02.262" v="111" actId="478"/>
          <ac:spMkLst>
            <pc:docMk/>
            <pc:sldMk cId="2817865122" sldId="4217"/>
            <ac:spMk id="3" creationId="{A43FE402-C33C-F198-B4E0-47EC96995EE1}"/>
          </ac:spMkLst>
        </pc:spChg>
        <pc:spChg chg="del">
          <ac:chgData name="Javier Trujillo" userId="32d8328a-de3f-445e-867d-9214b7ae5b6a" providerId="ADAL" clId="{345DE1AF-63AB-48AD-B9D6-2069ADD8C600}" dt="2022-08-18T20:21:22.592" v="115" actId="478"/>
          <ac:spMkLst>
            <pc:docMk/>
            <pc:sldMk cId="2817865122" sldId="4217"/>
            <ac:spMk id="4" creationId="{6EE735C3-0AC8-A89D-8C29-F6F8D40D00C9}"/>
          </ac:spMkLst>
        </pc:spChg>
        <pc:spChg chg="add mod">
          <ac:chgData name="Javier Trujillo" userId="32d8328a-de3f-445e-867d-9214b7ae5b6a" providerId="ADAL" clId="{345DE1AF-63AB-48AD-B9D6-2069ADD8C600}" dt="2022-08-19T18:35:30.335" v="463" actId="20577"/>
          <ac:spMkLst>
            <pc:docMk/>
            <pc:sldMk cId="2817865122" sldId="4217"/>
            <ac:spMk id="6" creationId="{1CC05073-6292-04AC-DE6A-963D278B26C1}"/>
          </ac:spMkLst>
        </pc:spChg>
        <pc:spChg chg="add mod">
          <ac:chgData name="Javier Trujillo" userId="32d8328a-de3f-445e-867d-9214b7ae5b6a" providerId="ADAL" clId="{345DE1AF-63AB-48AD-B9D6-2069ADD8C600}" dt="2022-08-19T23:25:50.683" v="2743" actId="14100"/>
          <ac:spMkLst>
            <pc:docMk/>
            <pc:sldMk cId="2817865122" sldId="4217"/>
            <ac:spMk id="7" creationId="{E0860522-A8BF-6807-1DB8-10AB186570DA}"/>
          </ac:spMkLst>
        </pc:spChg>
        <pc:spChg chg="add del">
          <ac:chgData name="Javier Trujillo" userId="32d8328a-de3f-445e-867d-9214b7ae5b6a" providerId="ADAL" clId="{345DE1AF-63AB-48AD-B9D6-2069ADD8C600}" dt="2022-08-18T20:28:11.241" v="128" actId="11529"/>
          <ac:spMkLst>
            <pc:docMk/>
            <pc:sldMk cId="2817865122" sldId="4217"/>
            <ac:spMk id="8" creationId="{2F724547-632B-C8E9-7B40-1ADF75B707E3}"/>
          </ac:spMkLst>
        </pc:spChg>
        <pc:spChg chg="add del mod">
          <ac:chgData name="Javier Trujillo" userId="32d8328a-de3f-445e-867d-9214b7ae5b6a" providerId="ADAL" clId="{345DE1AF-63AB-48AD-B9D6-2069ADD8C600}" dt="2022-08-18T20:28:45.239" v="130" actId="11529"/>
          <ac:spMkLst>
            <pc:docMk/>
            <pc:sldMk cId="2817865122" sldId="4217"/>
            <ac:spMk id="9" creationId="{E7F77E79-FCCB-7167-8960-7959AD8EE145}"/>
          </ac:spMkLst>
        </pc:spChg>
        <pc:graphicFrameChg chg="add del mod">
          <ac:chgData name="Javier Trujillo" userId="32d8328a-de3f-445e-867d-9214b7ae5b6a" providerId="ADAL" clId="{345DE1AF-63AB-48AD-B9D6-2069ADD8C600}" dt="2022-08-19T23:26:00.557" v="2744" actId="1076"/>
          <ac:graphicFrameMkLst>
            <pc:docMk/>
            <pc:sldMk cId="2817865122" sldId="4217"/>
            <ac:graphicFrameMk id="5" creationId="{F048BAD2-D978-D250-72A1-18A948F21778}"/>
          </ac:graphicFrameMkLst>
        </pc:graphicFrameChg>
      </pc:sldChg>
      <pc:sldChg chg="addSp delSp modSp new del mod ord setBg">
        <pc:chgData name="Javier Trujillo" userId="32d8328a-de3f-445e-867d-9214b7ae5b6a" providerId="ADAL" clId="{345DE1AF-63AB-48AD-B9D6-2069ADD8C600}" dt="2022-08-19T23:00:10.416" v="2365" actId="47"/>
        <pc:sldMkLst>
          <pc:docMk/>
          <pc:sldMk cId="564834130" sldId="4218"/>
        </pc:sldMkLst>
        <pc:spChg chg="mod">
          <ac:chgData name="Javier Trujillo" userId="32d8328a-de3f-445e-867d-9214b7ae5b6a" providerId="ADAL" clId="{345DE1AF-63AB-48AD-B9D6-2069ADD8C600}" dt="2022-08-19T22:09:54.021" v="2065" actId="122"/>
          <ac:spMkLst>
            <pc:docMk/>
            <pc:sldMk cId="564834130" sldId="4218"/>
            <ac:spMk id="2" creationId="{0C298BC9-9DE5-3D9F-0C8E-B4064F1785ED}"/>
          </ac:spMkLst>
        </pc:spChg>
        <pc:spChg chg="mod">
          <ac:chgData name="Javier Trujillo" userId="32d8328a-de3f-445e-867d-9214b7ae5b6a" providerId="ADAL" clId="{345DE1AF-63AB-48AD-B9D6-2069ADD8C600}" dt="2022-08-19T22:09:47.898" v="2063" actId="122"/>
          <ac:spMkLst>
            <pc:docMk/>
            <pc:sldMk cId="564834130" sldId="4218"/>
            <ac:spMk id="3" creationId="{F95F2751-B412-C787-D78C-A27D483C2C41}"/>
          </ac:spMkLst>
        </pc:spChg>
        <pc:spChg chg="add del">
          <ac:chgData name="Javier Trujillo" userId="32d8328a-de3f-445e-867d-9214b7ae5b6a" providerId="ADAL" clId="{345DE1AF-63AB-48AD-B9D6-2069ADD8C600}" dt="2022-08-19T20:43:49.250" v="1241" actId="26606"/>
          <ac:spMkLst>
            <pc:docMk/>
            <pc:sldMk cId="564834130" sldId="4218"/>
            <ac:spMk id="5127" creationId="{5E39A796-BE83-48B1-B33F-35C4A32AAB57}"/>
          </ac:spMkLst>
        </pc:spChg>
        <pc:spChg chg="add del">
          <ac:chgData name="Javier Trujillo" userId="32d8328a-de3f-445e-867d-9214b7ae5b6a" providerId="ADAL" clId="{345DE1AF-63AB-48AD-B9D6-2069ADD8C600}" dt="2022-08-19T20:43:49.250" v="1241" actId="26606"/>
          <ac:spMkLst>
            <pc:docMk/>
            <pc:sldMk cId="564834130" sldId="4218"/>
            <ac:spMk id="5129" creationId="{72F84B47-E267-4194-8194-831DB7B5547F}"/>
          </ac:spMkLst>
        </pc:spChg>
        <pc:spChg chg="add del">
          <ac:chgData name="Javier Trujillo" userId="32d8328a-de3f-445e-867d-9214b7ae5b6a" providerId="ADAL" clId="{345DE1AF-63AB-48AD-B9D6-2069ADD8C600}" dt="2022-08-19T20:43:53.273" v="1243" actId="26606"/>
          <ac:spMkLst>
            <pc:docMk/>
            <pc:sldMk cId="564834130" sldId="4218"/>
            <ac:spMk id="5131" creationId="{2B97F24A-32CE-4C1C-A50D-3016B394DCFB}"/>
          </ac:spMkLst>
        </pc:spChg>
        <pc:spChg chg="add del">
          <ac:chgData name="Javier Trujillo" userId="32d8328a-de3f-445e-867d-9214b7ae5b6a" providerId="ADAL" clId="{345DE1AF-63AB-48AD-B9D6-2069ADD8C600}" dt="2022-08-19T20:43:53.273" v="1243" actId="26606"/>
          <ac:spMkLst>
            <pc:docMk/>
            <pc:sldMk cId="564834130" sldId="4218"/>
            <ac:spMk id="5132" creationId="{CD8B4F24-440B-49E9-B85D-733523DC064B}"/>
          </ac:spMkLst>
        </pc:spChg>
        <pc:spChg chg="add del">
          <ac:chgData name="Javier Trujillo" userId="32d8328a-de3f-445e-867d-9214b7ae5b6a" providerId="ADAL" clId="{345DE1AF-63AB-48AD-B9D6-2069ADD8C600}" dt="2022-08-19T20:43:55.116" v="1245" actId="26606"/>
          <ac:spMkLst>
            <pc:docMk/>
            <pc:sldMk cId="564834130" sldId="4218"/>
            <ac:spMk id="5134" creationId="{05C7EBC3-4672-4DAB-81C2-58661FAFAED6}"/>
          </ac:spMkLst>
        </pc:spChg>
        <pc:spChg chg="add del">
          <ac:chgData name="Javier Trujillo" userId="32d8328a-de3f-445e-867d-9214b7ae5b6a" providerId="ADAL" clId="{345DE1AF-63AB-48AD-B9D6-2069ADD8C600}" dt="2022-08-19T20:43:55.116" v="1245" actId="26606"/>
          <ac:spMkLst>
            <pc:docMk/>
            <pc:sldMk cId="564834130" sldId="4218"/>
            <ac:spMk id="5135" creationId="{40BF962F-4C6F-461E-86F2-C43F56CC939B}"/>
          </ac:spMkLst>
        </pc:spChg>
        <pc:spChg chg="add del">
          <ac:chgData name="Javier Trujillo" userId="32d8328a-de3f-445e-867d-9214b7ae5b6a" providerId="ADAL" clId="{345DE1AF-63AB-48AD-B9D6-2069ADD8C600}" dt="2022-08-19T20:43:55.116" v="1245" actId="26606"/>
          <ac:spMkLst>
            <pc:docMk/>
            <pc:sldMk cId="564834130" sldId="4218"/>
            <ac:spMk id="5136" creationId="{2E94A4F7-38E4-45EA-8E2E-CE1B5766B4F1}"/>
          </ac:spMkLst>
        </pc:spChg>
        <pc:spChg chg="add del">
          <ac:chgData name="Javier Trujillo" userId="32d8328a-de3f-445e-867d-9214b7ae5b6a" providerId="ADAL" clId="{345DE1AF-63AB-48AD-B9D6-2069ADD8C600}" dt="2022-08-19T20:43:59.436" v="1247" actId="26606"/>
          <ac:spMkLst>
            <pc:docMk/>
            <pc:sldMk cId="564834130" sldId="4218"/>
            <ac:spMk id="5138" creationId="{F13C74B1-5B17-4795-BED0-7140497B445A}"/>
          </ac:spMkLst>
        </pc:spChg>
        <pc:spChg chg="add del">
          <ac:chgData name="Javier Trujillo" userId="32d8328a-de3f-445e-867d-9214b7ae5b6a" providerId="ADAL" clId="{345DE1AF-63AB-48AD-B9D6-2069ADD8C600}" dt="2022-08-19T20:43:59.436" v="1247" actId="26606"/>
          <ac:spMkLst>
            <pc:docMk/>
            <pc:sldMk cId="564834130" sldId="4218"/>
            <ac:spMk id="5139" creationId="{D4974D33-8DC5-464E-8C6D-BE58F0669C17}"/>
          </ac:spMkLst>
        </pc:spChg>
        <pc:spChg chg="add del">
          <ac:chgData name="Javier Trujillo" userId="32d8328a-de3f-445e-867d-9214b7ae5b6a" providerId="ADAL" clId="{345DE1AF-63AB-48AD-B9D6-2069ADD8C600}" dt="2022-08-19T20:44:01.270" v="1249" actId="26606"/>
          <ac:spMkLst>
            <pc:docMk/>
            <pc:sldMk cId="564834130" sldId="4218"/>
            <ac:spMk id="5141" creationId="{2B566528-1B12-4246-9431-5C2D7D081168}"/>
          </ac:spMkLst>
        </pc:spChg>
        <pc:spChg chg="add del">
          <ac:chgData name="Javier Trujillo" userId="32d8328a-de3f-445e-867d-9214b7ae5b6a" providerId="ADAL" clId="{345DE1AF-63AB-48AD-B9D6-2069ADD8C600}" dt="2022-08-19T20:44:07.439" v="1251" actId="26606"/>
          <ac:spMkLst>
            <pc:docMk/>
            <pc:sldMk cId="564834130" sldId="4218"/>
            <ac:spMk id="5147" creationId="{131BAD53-4E89-4F62-BBB7-26359763ED39}"/>
          </ac:spMkLst>
        </pc:spChg>
        <pc:spChg chg="add del">
          <ac:chgData name="Javier Trujillo" userId="32d8328a-de3f-445e-867d-9214b7ae5b6a" providerId="ADAL" clId="{345DE1AF-63AB-48AD-B9D6-2069ADD8C600}" dt="2022-08-19T20:44:07.439" v="1251" actId="26606"/>
          <ac:spMkLst>
            <pc:docMk/>
            <pc:sldMk cId="564834130" sldId="4218"/>
            <ac:spMk id="5148" creationId="{62756DA2-40EB-4C6F-B962-5822FFB54FB6}"/>
          </ac:spMkLst>
        </pc:spChg>
        <pc:spChg chg="add del">
          <ac:chgData name="Javier Trujillo" userId="32d8328a-de3f-445e-867d-9214b7ae5b6a" providerId="ADAL" clId="{345DE1AF-63AB-48AD-B9D6-2069ADD8C600}" dt="2022-08-19T20:44:50.348" v="1253" actId="26606"/>
          <ac:spMkLst>
            <pc:docMk/>
            <pc:sldMk cId="564834130" sldId="4218"/>
            <ac:spMk id="5150" creationId="{5E39A796-BE83-48B1-B33F-35C4A32AAB57}"/>
          </ac:spMkLst>
        </pc:spChg>
        <pc:spChg chg="add del">
          <ac:chgData name="Javier Trujillo" userId="32d8328a-de3f-445e-867d-9214b7ae5b6a" providerId="ADAL" clId="{345DE1AF-63AB-48AD-B9D6-2069ADD8C600}" dt="2022-08-19T20:44:50.348" v="1253" actId="26606"/>
          <ac:spMkLst>
            <pc:docMk/>
            <pc:sldMk cId="564834130" sldId="4218"/>
            <ac:spMk id="5151" creationId="{72F84B47-E267-4194-8194-831DB7B5547F}"/>
          </ac:spMkLst>
        </pc:spChg>
        <pc:spChg chg="add">
          <ac:chgData name="Javier Trujillo" userId="32d8328a-de3f-445e-867d-9214b7ae5b6a" providerId="ADAL" clId="{345DE1AF-63AB-48AD-B9D6-2069ADD8C600}" dt="2022-08-19T20:44:50.357" v="1254" actId="26606"/>
          <ac:spMkLst>
            <pc:docMk/>
            <pc:sldMk cId="564834130" sldId="4218"/>
            <ac:spMk id="5153" creationId="{2B97F24A-32CE-4C1C-A50D-3016B394DCFB}"/>
          </ac:spMkLst>
        </pc:spChg>
        <pc:spChg chg="add">
          <ac:chgData name="Javier Trujillo" userId="32d8328a-de3f-445e-867d-9214b7ae5b6a" providerId="ADAL" clId="{345DE1AF-63AB-48AD-B9D6-2069ADD8C600}" dt="2022-08-19T20:44:50.357" v="1254" actId="26606"/>
          <ac:spMkLst>
            <pc:docMk/>
            <pc:sldMk cId="564834130" sldId="4218"/>
            <ac:spMk id="5154" creationId="{CD8B4F24-440B-49E9-B85D-733523DC064B}"/>
          </ac:spMkLst>
        </pc:spChg>
        <pc:grpChg chg="add del">
          <ac:chgData name="Javier Trujillo" userId="32d8328a-de3f-445e-867d-9214b7ae5b6a" providerId="ADAL" clId="{345DE1AF-63AB-48AD-B9D6-2069ADD8C600}" dt="2022-08-19T20:44:01.270" v="1249" actId="26606"/>
          <ac:grpSpMkLst>
            <pc:docMk/>
            <pc:sldMk cId="564834130" sldId="4218"/>
            <ac:grpSpMk id="5133" creationId="{5995D10D-E9C9-47DB-AE7E-801FEF38F5C9}"/>
          </ac:grpSpMkLst>
        </pc:grpChg>
        <pc:grpChg chg="add del">
          <ac:chgData name="Javier Trujillo" userId="32d8328a-de3f-445e-867d-9214b7ae5b6a" providerId="ADAL" clId="{345DE1AF-63AB-48AD-B9D6-2069ADD8C600}" dt="2022-08-19T20:44:01.270" v="1249" actId="26606"/>
          <ac:grpSpMkLst>
            <pc:docMk/>
            <pc:sldMk cId="564834130" sldId="4218"/>
            <ac:grpSpMk id="5142" creationId="{828A5161-06F1-46CF-8AD7-844680A59E13}"/>
          </ac:grpSpMkLst>
        </pc:grpChg>
        <pc:picChg chg="add del mod">
          <ac:chgData name="Javier Trujillo" userId="32d8328a-de3f-445e-867d-9214b7ae5b6a" providerId="ADAL" clId="{345DE1AF-63AB-48AD-B9D6-2069ADD8C600}" dt="2022-08-19T22:08:08.988" v="2056" actId="478"/>
          <ac:picMkLst>
            <pc:docMk/>
            <pc:sldMk cId="564834130" sldId="4218"/>
            <ac:picMk id="5122" creationId="{A2012B57-00B8-E3BC-2D44-6FC4FE6DC884}"/>
          </ac:picMkLst>
        </pc:picChg>
      </pc:sldChg>
      <pc:sldChg chg="new del">
        <pc:chgData name="Javier Trujillo" userId="32d8328a-de3f-445e-867d-9214b7ae5b6a" providerId="ADAL" clId="{345DE1AF-63AB-48AD-B9D6-2069ADD8C600}" dt="2022-08-19T20:31:22.670" v="838" actId="47"/>
        <pc:sldMkLst>
          <pc:docMk/>
          <pc:sldMk cId="2178875943" sldId="4218"/>
        </pc:sldMkLst>
      </pc:sldChg>
      <pc:sldChg chg="new del">
        <pc:chgData name="Javier Trujillo" userId="32d8328a-de3f-445e-867d-9214b7ae5b6a" providerId="ADAL" clId="{345DE1AF-63AB-48AD-B9D6-2069ADD8C600}" dt="2022-08-19T20:46:11.811" v="1257" actId="47"/>
        <pc:sldMkLst>
          <pc:docMk/>
          <pc:sldMk cId="3729811949" sldId="4219"/>
        </pc:sldMkLst>
      </pc:sldChg>
      <pc:sldChg chg="modSp add mod ord">
        <pc:chgData name="Javier Trujillo" userId="32d8328a-de3f-445e-867d-9214b7ae5b6a" providerId="ADAL" clId="{345DE1AF-63AB-48AD-B9D6-2069ADD8C600}" dt="2022-08-19T22:42:02.424" v="2245" actId="20577"/>
        <pc:sldMkLst>
          <pc:docMk/>
          <pc:sldMk cId="2283616005" sldId="4220"/>
        </pc:sldMkLst>
        <pc:spChg chg="mod">
          <ac:chgData name="Javier Trujillo" userId="32d8328a-de3f-445e-867d-9214b7ae5b6a" providerId="ADAL" clId="{345DE1AF-63AB-48AD-B9D6-2069ADD8C600}" dt="2022-08-19T22:42:02.424" v="2245" actId="20577"/>
          <ac:spMkLst>
            <pc:docMk/>
            <pc:sldMk cId="2283616005" sldId="4220"/>
            <ac:spMk id="2" creationId="{00000000-0000-0000-0000-000000000000}"/>
          </ac:spMkLst>
        </pc:spChg>
      </pc:sldChg>
      <pc:sldChg chg="addSp delSp modSp new mod ord">
        <pc:chgData name="Javier Trujillo" userId="32d8328a-de3f-445e-867d-9214b7ae5b6a" providerId="ADAL" clId="{345DE1AF-63AB-48AD-B9D6-2069ADD8C600}" dt="2022-08-19T22:07:46.335" v="2054" actId="113"/>
        <pc:sldMkLst>
          <pc:docMk/>
          <pc:sldMk cId="2842931133" sldId="4221"/>
        </pc:sldMkLst>
        <pc:spChg chg="del">
          <ac:chgData name="Javier Trujillo" userId="32d8328a-de3f-445e-867d-9214b7ae5b6a" providerId="ADAL" clId="{345DE1AF-63AB-48AD-B9D6-2069ADD8C600}" dt="2022-08-19T21:15:30.254" v="1425" actId="478"/>
          <ac:spMkLst>
            <pc:docMk/>
            <pc:sldMk cId="2842931133" sldId="4221"/>
            <ac:spMk id="2" creationId="{B4B1C926-C976-8E02-A921-3534AF6D45C5}"/>
          </ac:spMkLst>
        </pc:spChg>
        <pc:spChg chg="del">
          <ac:chgData name="Javier Trujillo" userId="32d8328a-de3f-445e-867d-9214b7ae5b6a" providerId="ADAL" clId="{345DE1AF-63AB-48AD-B9D6-2069ADD8C600}" dt="2022-08-19T21:15:31.418" v="1426" actId="478"/>
          <ac:spMkLst>
            <pc:docMk/>
            <pc:sldMk cId="2842931133" sldId="4221"/>
            <ac:spMk id="3" creationId="{FFE953E2-DD18-D83C-F000-143591D92E87}"/>
          </ac:spMkLst>
        </pc:spChg>
        <pc:spChg chg="add mod">
          <ac:chgData name="Javier Trujillo" userId="32d8328a-de3f-445e-867d-9214b7ae5b6a" providerId="ADAL" clId="{345DE1AF-63AB-48AD-B9D6-2069ADD8C600}" dt="2022-08-19T22:07:46.335" v="2054" actId="113"/>
          <ac:spMkLst>
            <pc:docMk/>
            <pc:sldMk cId="2842931133" sldId="4221"/>
            <ac:spMk id="4" creationId="{8CC6B874-B313-337C-1A50-D0125000A41F}"/>
          </ac:spMkLst>
        </pc:spChg>
        <pc:picChg chg="add mod">
          <ac:chgData name="Javier Trujillo" userId="32d8328a-de3f-445e-867d-9214b7ae5b6a" providerId="ADAL" clId="{345DE1AF-63AB-48AD-B9D6-2069ADD8C600}" dt="2022-08-19T21:19:40.542" v="1758" actId="1076"/>
          <ac:picMkLst>
            <pc:docMk/>
            <pc:sldMk cId="2842931133" sldId="4221"/>
            <ac:picMk id="6" creationId="{2C1AFF47-58B3-35C8-05F6-628B681FA117}"/>
          </ac:picMkLst>
        </pc:picChg>
      </pc:sldChg>
      <pc:sldChg chg="addSp delSp modSp new del mod setBg">
        <pc:chgData name="Javier Trujillo" userId="32d8328a-de3f-445e-867d-9214b7ae5b6a" providerId="ADAL" clId="{345DE1AF-63AB-48AD-B9D6-2069ADD8C600}" dt="2022-08-19T22:11:16.311" v="2069" actId="47"/>
        <pc:sldMkLst>
          <pc:docMk/>
          <pc:sldMk cId="2859834014" sldId="4222"/>
        </pc:sldMkLst>
        <pc:spChg chg="mod">
          <ac:chgData name="Javier Trujillo" userId="32d8328a-de3f-445e-867d-9214b7ae5b6a" providerId="ADAL" clId="{345DE1AF-63AB-48AD-B9D6-2069ADD8C600}" dt="2022-08-19T22:10:35.683" v="2068" actId="113"/>
          <ac:spMkLst>
            <pc:docMk/>
            <pc:sldMk cId="2859834014" sldId="4222"/>
            <ac:spMk id="2" creationId="{C9307B49-E8A6-20BC-70A1-BA69A2FC4F5B}"/>
          </ac:spMkLst>
        </pc:spChg>
        <pc:spChg chg="mod ord">
          <ac:chgData name="Javier Trujillo" userId="32d8328a-de3f-445e-867d-9214b7ae5b6a" providerId="ADAL" clId="{345DE1AF-63AB-48AD-B9D6-2069ADD8C600}" dt="2022-08-19T21:41:30.528" v="2042" actId="5793"/>
          <ac:spMkLst>
            <pc:docMk/>
            <pc:sldMk cId="2859834014" sldId="4222"/>
            <ac:spMk id="3" creationId="{30E83BBA-A09A-0B71-EE56-6E02D10A8A16}"/>
          </ac:spMkLst>
        </pc:spChg>
        <pc:spChg chg="add del">
          <ac:chgData name="Javier Trujillo" userId="32d8328a-de3f-445e-867d-9214b7ae5b6a" providerId="ADAL" clId="{345DE1AF-63AB-48AD-B9D6-2069ADD8C600}" dt="2022-08-19T21:40:11.927" v="2012" actId="26606"/>
          <ac:spMkLst>
            <pc:docMk/>
            <pc:sldMk cId="2859834014" sldId="4222"/>
            <ac:spMk id="9" creationId="{2B97F24A-32CE-4C1C-A50D-3016B394DCFB}"/>
          </ac:spMkLst>
        </pc:spChg>
        <pc:spChg chg="add del">
          <ac:chgData name="Javier Trujillo" userId="32d8328a-de3f-445e-867d-9214b7ae5b6a" providerId="ADAL" clId="{345DE1AF-63AB-48AD-B9D6-2069ADD8C600}" dt="2022-08-19T21:40:11.927" v="2012" actId="26606"/>
          <ac:spMkLst>
            <pc:docMk/>
            <pc:sldMk cId="2859834014" sldId="4222"/>
            <ac:spMk id="11" creationId="{CD8B4F24-440B-49E9-B85D-733523DC064B}"/>
          </ac:spMkLst>
        </pc:spChg>
        <pc:spChg chg="add del">
          <ac:chgData name="Javier Trujillo" userId="32d8328a-de3f-445e-867d-9214b7ae5b6a" providerId="ADAL" clId="{345DE1AF-63AB-48AD-B9D6-2069ADD8C600}" dt="2022-08-19T21:40:13.181" v="2014" actId="26606"/>
          <ac:spMkLst>
            <pc:docMk/>
            <pc:sldMk cId="2859834014" sldId="4222"/>
            <ac:spMk id="13" creationId="{743AA782-23D1-4521-8CAD-47662984AA08}"/>
          </ac:spMkLst>
        </pc:spChg>
        <pc:spChg chg="add del">
          <ac:chgData name="Javier Trujillo" userId="32d8328a-de3f-445e-867d-9214b7ae5b6a" providerId="ADAL" clId="{345DE1AF-63AB-48AD-B9D6-2069ADD8C600}" dt="2022-08-19T21:40:13.181" v="2014" actId="26606"/>
          <ac:spMkLst>
            <pc:docMk/>
            <pc:sldMk cId="2859834014" sldId="4222"/>
            <ac:spMk id="14" creationId="{71877DBC-BB60-40F0-AC93-2ACDBAAE60CE}"/>
          </ac:spMkLst>
        </pc:spChg>
        <pc:spChg chg="add del">
          <ac:chgData name="Javier Trujillo" userId="32d8328a-de3f-445e-867d-9214b7ae5b6a" providerId="ADAL" clId="{345DE1AF-63AB-48AD-B9D6-2069ADD8C600}" dt="2022-08-19T21:40:14.507" v="2016" actId="26606"/>
          <ac:spMkLst>
            <pc:docMk/>
            <pc:sldMk cId="2859834014" sldId="4222"/>
            <ac:spMk id="16" creationId="{0E3596DD-156A-473E-9BB3-C6A29F7574E9}"/>
          </ac:spMkLst>
        </pc:spChg>
        <pc:spChg chg="add del">
          <ac:chgData name="Javier Trujillo" userId="32d8328a-de3f-445e-867d-9214b7ae5b6a" providerId="ADAL" clId="{345DE1AF-63AB-48AD-B9D6-2069ADD8C600}" dt="2022-08-19T21:40:14.507" v="2016" actId="26606"/>
          <ac:spMkLst>
            <pc:docMk/>
            <pc:sldMk cId="2859834014" sldId="4222"/>
            <ac:spMk id="17" creationId="{2C46C4D6-C474-4E92-B52E-944C1118F7B6}"/>
          </ac:spMkLst>
        </pc:spChg>
        <pc:spChg chg="add del">
          <ac:chgData name="Javier Trujillo" userId="32d8328a-de3f-445e-867d-9214b7ae5b6a" providerId="ADAL" clId="{345DE1AF-63AB-48AD-B9D6-2069ADD8C600}" dt="2022-08-19T21:40:15.566" v="2018" actId="26606"/>
          <ac:spMkLst>
            <pc:docMk/>
            <pc:sldMk cId="2859834014" sldId="4222"/>
            <ac:spMk id="19" creationId="{0B9EE3F3-89B7-43C3-8651-C4C96830993D}"/>
          </ac:spMkLst>
        </pc:spChg>
        <pc:spChg chg="add del">
          <ac:chgData name="Javier Trujillo" userId="32d8328a-de3f-445e-867d-9214b7ae5b6a" providerId="ADAL" clId="{345DE1AF-63AB-48AD-B9D6-2069ADD8C600}" dt="2022-08-19T21:40:15.566" v="2018" actId="26606"/>
          <ac:spMkLst>
            <pc:docMk/>
            <pc:sldMk cId="2859834014" sldId="4222"/>
            <ac:spMk id="20" creationId="{33AE4636-AEEC-45D6-84D4-7AC2DA48ECF8}"/>
          </ac:spMkLst>
        </pc:spChg>
        <pc:spChg chg="add del">
          <ac:chgData name="Javier Trujillo" userId="32d8328a-de3f-445e-867d-9214b7ae5b6a" providerId="ADAL" clId="{345DE1AF-63AB-48AD-B9D6-2069ADD8C600}" dt="2022-08-19T21:40:15.566" v="2018" actId="26606"/>
          <ac:spMkLst>
            <pc:docMk/>
            <pc:sldMk cId="2859834014" sldId="4222"/>
            <ac:spMk id="21" creationId="{8D9CE0F4-2EB2-4F1F-8AAC-DB3571D9FE10}"/>
          </ac:spMkLst>
        </pc:spChg>
        <pc:spChg chg="add del">
          <ac:chgData name="Javier Trujillo" userId="32d8328a-de3f-445e-867d-9214b7ae5b6a" providerId="ADAL" clId="{345DE1AF-63AB-48AD-B9D6-2069ADD8C600}" dt="2022-08-19T21:40:16.988" v="2020" actId="26606"/>
          <ac:spMkLst>
            <pc:docMk/>
            <pc:sldMk cId="2859834014" sldId="4222"/>
            <ac:spMk id="23" creationId="{743AA782-23D1-4521-8CAD-47662984AA08}"/>
          </ac:spMkLst>
        </pc:spChg>
        <pc:spChg chg="add del">
          <ac:chgData name="Javier Trujillo" userId="32d8328a-de3f-445e-867d-9214b7ae5b6a" providerId="ADAL" clId="{345DE1AF-63AB-48AD-B9D6-2069ADD8C600}" dt="2022-08-19T21:40:16.988" v="2020" actId="26606"/>
          <ac:spMkLst>
            <pc:docMk/>
            <pc:sldMk cId="2859834014" sldId="4222"/>
            <ac:spMk id="24" creationId="{650D18FE-0824-4A46-B22C-A86B52E5780A}"/>
          </ac:spMkLst>
        </pc:spChg>
        <pc:spChg chg="add del">
          <ac:chgData name="Javier Trujillo" userId="32d8328a-de3f-445e-867d-9214b7ae5b6a" providerId="ADAL" clId="{345DE1AF-63AB-48AD-B9D6-2069ADD8C600}" dt="2022-08-19T21:40:22.199" v="2022" actId="26606"/>
          <ac:spMkLst>
            <pc:docMk/>
            <pc:sldMk cId="2859834014" sldId="4222"/>
            <ac:spMk id="26" creationId="{A8908DB7-C3A6-4FCB-9820-CEE02B398C4A}"/>
          </ac:spMkLst>
        </pc:spChg>
        <pc:spChg chg="add del">
          <ac:chgData name="Javier Trujillo" userId="32d8328a-de3f-445e-867d-9214b7ae5b6a" providerId="ADAL" clId="{345DE1AF-63AB-48AD-B9D6-2069ADD8C600}" dt="2022-08-19T21:40:22.199" v="2022" actId="26606"/>
          <ac:spMkLst>
            <pc:docMk/>
            <pc:sldMk cId="2859834014" sldId="4222"/>
            <ac:spMk id="27" creationId="{535742DD-1B16-4E9D-B715-0D74B4574A68}"/>
          </ac:spMkLst>
        </pc:spChg>
        <pc:spChg chg="add del">
          <ac:chgData name="Javier Trujillo" userId="32d8328a-de3f-445e-867d-9214b7ae5b6a" providerId="ADAL" clId="{345DE1AF-63AB-48AD-B9D6-2069ADD8C600}" dt="2022-08-19T21:40:23.647" v="2024" actId="26606"/>
          <ac:spMkLst>
            <pc:docMk/>
            <pc:sldMk cId="2859834014" sldId="4222"/>
            <ac:spMk id="29" creationId="{81AEB8A9-B768-4E30-BA55-D919E6687343}"/>
          </ac:spMkLst>
        </pc:spChg>
        <pc:spChg chg="add">
          <ac:chgData name="Javier Trujillo" userId="32d8328a-de3f-445e-867d-9214b7ae5b6a" providerId="ADAL" clId="{345DE1AF-63AB-48AD-B9D6-2069ADD8C600}" dt="2022-08-19T21:40:23.660" v="2025" actId="26606"/>
          <ac:spMkLst>
            <pc:docMk/>
            <pc:sldMk cId="2859834014" sldId="4222"/>
            <ac:spMk id="31" creationId="{2B97F24A-32CE-4C1C-A50D-3016B394DCFB}"/>
          </ac:spMkLst>
        </pc:spChg>
        <pc:spChg chg="add">
          <ac:chgData name="Javier Trujillo" userId="32d8328a-de3f-445e-867d-9214b7ae5b6a" providerId="ADAL" clId="{345DE1AF-63AB-48AD-B9D6-2069ADD8C600}" dt="2022-08-19T21:40:23.660" v="2025" actId="26606"/>
          <ac:spMkLst>
            <pc:docMk/>
            <pc:sldMk cId="2859834014" sldId="4222"/>
            <ac:spMk id="32" creationId="{6357EC4F-235E-4222-A36F-C7878ACE37F2}"/>
          </ac:spMkLst>
        </pc:spChg>
        <pc:picChg chg="add mod">
          <ac:chgData name="Javier Trujillo" userId="32d8328a-de3f-445e-867d-9214b7ae5b6a" providerId="ADAL" clId="{345DE1AF-63AB-48AD-B9D6-2069ADD8C600}" dt="2022-08-19T21:40:23.660" v="2025" actId="26606"/>
          <ac:picMkLst>
            <pc:docMk/>
            <pc:sldMk cId="2859834014" sldId="4222"/>
            <ac:picMk id="4" creationId="{B3CFB741-47E6-2213-C991-AEB88B7C9B78}"/>
          </ac:picMkLst>
        </pc:picChg>
      </pc:sldChg>
      <pc:sldChg chg="new del">
        <pc:chgData name="Javier Trujillo" userId="32d8328a-de3f-445e-867d-9214b7ae5b6a" providerId="ADAL" clId="{345DE1AF-63AB-48AD-B9D6-2069ADD8C600}" dt="2022-08-19T22:41:23.037" v="2199" actId="47"/>
        <pc:sldMkLst>
          <pc:docMk/>
          <pc:sldMk cId="3381736788" sldId="4222"/>
        </pc:sldMkLst>
      </pc:sldChg>
      <pc:sldChg chg="addSp delSp modSp new del mod ord setBg">
        <pc:chgData name="Javier Trujillo" userId="32d8328a-de3f-445e-867d-9214b7ae5b6a" providerId="ADAL" clId="{345DE1AF-63AB-48AD-B9D6-2069ADD8C600}" dt="2022-08-19T23:01:46.881" v="2383" actId="47"/>
        <pc:sldMkLst>
          <pc:docMk/>
          <pc:sldMk cId="2398588293" sldId="4223"/>
        </pc:sldMkLst>
        <pc:spChg chg="del">
          <ac:chgData name="Javier Trujillo" userId="32d8328a-de3f-445e-867d-9214b7ae5b6a" providerId="ADAL" clId="{345DE1AF-63AB-48AD-B9D6-2069ADD8C600}" dt="2022-08-19T22:24:11.912" v="2085" actId="478"/>
          <ac:spMkLst>
            <pc:docMk/>
            <pc:sldMk cId="2398588293" sldId="4223"/>
            <ac:spMk id="2" creationId="{A620A8AB-C50D-9D8E-23F3-ACD0C1C5F4A2}"/>
          </ac:spMkLst>
        </pc:spChg>
        <pc:spChg chg="del mod">
          <ac:chgData name="Javier Trujillo" userId="32d8328a-de3f-445e-867d-9214b7ae5b6a" providerId="ADAL" clId="{345DE1AF-63AB-48AD-B9D6-2069ADD8C600}" dt="2022-08-19T22:24:09.859" v="2084" actId="478"/>
          <ac:spMkLst>
            <pc:docMk/>
            <pc:sldMk cId="2398588293" sldId="4223"/>
            <ac:spMk id="3" creationId="{06046B52-55B9-16C4-9A82-A3C7C62B88FB}"/>
          </ac:spMkLst>
        </pc:spChg>
        <pc:spChg chg="add del mod">
          <ac:chgData name="Javier Trujillo" userId="32d8328a-de3f-445e-867d-9214b7ae5b6a" providerId="ADAL" clId="{345DE1AF-63AB-48AD-B9D6-2069ADD8C600}" dt="2022-08-19T22:39:18.160" v="2179" actId="478"/>
          <ac:spMkLst>
            <pc:docMk/>
            <pc:sldMk cId="2398588293" sldId="4223"/>
            <ac:spMk id="5" creationId="{F963FD12-6D47-DA5B-9026-BEE6A34A96A3}"/>
          </ac:spMkLst>
        </pc:spChg>
        <pc:spChg chg="add del mod">
          <ac:chgData name="Javier Trujillo" userId="32d8328a-de3f-445e-867d-9214b7ae5b6a" providerId="ADAL" clId="{345DE1AF-63AB-48AD-B9D6-2069ADD8C600}" dt="2022-08-19T22:28:00.695" v="2109" actId="478"/>
          <ac:spMkLst>
            <pc:docMk/>
            <pc:sldMk cId="2398588293" sldId="4223"/>
            <ac:spMk id="6" creationId="{A84610E8-8B23-D1F8-BDC0-DDCC30EC574C}"/>
          </ac:spMkLst>
        </pc:spChg>
        <pc:spChg chg="add del">
          <ac:chgData name="Javier Trujillo" userId="32d8328a-de3f-445e-867d-9214b7ae5b6a" providerId="ADAL" clId="{345DE1AF-63AB-48AD-B9D6-2069ADD8C600}" dt="2022-08-19T22:41:02.471" v="2195" actId="26606"/>
          <ac:spMkLst>
            <pc:docMk/>
            <pc:sldMk cId="2398588293" sldId="4223"/>
            <ac:spMk id="12" creationId="{799448F2-0E5B-42DA-B2D1-11A14E947BD4}"/>
          </ac:spMkLst>
        </pc:spChg>
        <pc:spChg chg="add del">
          <ac:chgData name="Javier Trujillo" userId="32d8328a-de3f-445e-867d-9214b7ae5b6a" providerId="ADAL" clId="{345DE1AF-63AB-48AD-B9D6-2069ADD8C600}" dt="2022-08-19T22:41:02.471" v="2195" actId="26606"/>
          <ac:spMkLst>
            <pc:docMk/>
            <pc:sldMk cId="2398588293" sldId="4223"/>
            <ac:spMk id="13" creationId="{4E8A7552-20E1-4F34-ADAB-C1DB6634D47E}"/>
          </ac:spMkLst>
        </pc:spChg>
        <pc:spChg chg="add del">
          <ac:chgData name="Javier Trujillo" userId="32d8328a-de3f-445e-867d-9214b7ae5b6a" providerId="ADAL" clId="{345DE1AF-63AB-48AD-B9D6-2069ADD8C600}" dt="2022-08-19T22:39:35.810" v="2186" actId="26606"/>
          <ac:spMkLst>
            <pc:docMk/>
            <pc:sldMk cId="2398588293" sldId="4223"/>
            <ac:spMk id="15" creationId="{C96C8BAF-68F3-4B78-B238-35DF5D86560D}"/>
          </ac:spMkLst>
        </pc:spChg>
        <pc:spChg chg="add del">
          <ac:chgData name="Javier Trujillo" userId="32d8328a-de3f-445e-867d-9214b7ae5b6a" providerId="ADAL" clId="{345DE1AF-63AB-48AD-B9D6-2069ADD8C600}" dt="2022-08-19T22:41:04.821" v="2197" actId="26606"/>
          <ac:spMkLst>
            <pc:docMk/>
            <pc:sldMk cId="2398588293" sldId="4223"/>
            <ac:spMk id="16" creationId="{BFDC535F-AC0A-417D-96AB-6706BECACD95}"/>
          </ac:spMkLst>
        </pc:spChg>
        <pc:spChg chg="add del">
          <ac:chgData name="Javier Trujillo" userId="32d8328a-de3f-445e-867d-9214b7ae5b6a" providerId="ADAL" clId="{345DE1AF-63AB-48AD-B9D6-2069ADD8C600}" dt="2022-08-19T22:41:04.821" v="2197" actId="26606"/>
          <ac:spMkLst>
            <pc:docMk/>
            <pc:sldMk cId="2398588293" sldId="4223"/>
            <ac:spMk id="18" creationId="{97AAAF8E-31DB-4148-8FCA-4D8233D691C6}"/>
          </ac:spMkLst>
        </pc:spChg>
        <pc:spChg chg="add del">
          <ac:chgData name="Javier Trujillo" userId="32d8328a-de3f-445e-867d-9214b7ae5b6a" providerId="ADAL" clId="{345DE1AF-63AB-48AD-B9D6-2069ADD8C600}" dt="2022-08-19T22:39:37.516" v="2190" actId="26606"/>
          <ac:spMkLst>
            <pc:docMk/>
            <pc:sldMk cId="2398588293" sldId="4223"/>
            <ac:spMk id="19" creationId="{D7D9F91F-72C9-4DB9-ABD0-A8180D8262D5}"/>
          </ac:spMkLst>
        </pc:spChg>
        <pc:spChg chg="add del">
          <ac:chgData name="Javier Trujillo" userId="32d8328a-de3f-445e-867d-9214b7ae5b6a" providerId="ADAL" clId="{345DE1AF-63AB-48AD-B9D6-2069ADD8C600}" dt="2022-08-19T22:41:04.821" v="2197" actId="26606"/>
          <ac:spMkLst>
            <pc:docMk/>
            <pc:sldMk cId="2398588293" sldId="4223"/>
            <ac:spMk id="20" creationId="{AA274328-4774-4DF9-BA53-452565122FBB}"/>
          </ac:spMkLst>
        </pc:spChg>
        <pc:spChg chg="add del">
          <ac:chgData name="Javier Trujillo" userId="32d8328a-de3f-445e-867d-9214b7ae5b6a" providerId="ADAL" clId="{345DE1AF-63AB-48AD-B9D6-2069ADD8C600}" dt="2022-08-19T22:41:04.821" v="2197" actId="26606"/>
          <ac:spMkLst>
            <pc:docMk/>
            <pc:sldMk cId="2398588293" sldId="4223"/>
            <ac:spMk id="22" creationId="{01C7B46D-2FEF-4FAA-915B-8B21A66BB647}"/>
          </ac:spMkLst>
        </pc:spChg>
        <pc:spChg chg="add">
          <ac:chgData name="Javier Trujillo" userId="32d8328a-de3f-445e-867d-9214b7ae5b6a" providerId="ADAL" clId="{345DE1AF-63AB-48AD-B9D6-2069ADD8C600}" dt="2022-08-19T22:41:04.831" v="2198" actId="26606"/>
          <ac:spMkLst>
            <pc:docMk/>
            <pc:sldMk cId="2398588293" sldId="4223"/>
            <ac:spMk id="24" creationId="{9527FCEA-6143-4C5E-8C45-8AC9237ADE89}"/>
          </ac:spMkLst>
        </pc:spChg>
        <pc:spChg chg="add">
          <ac:chgData name="Javier Trujillo" userId="32d8328a-de3f-445e-867d-9214b7ae5b6a" providerId="ADAL" clId="{345DE1AF-63AB-48AD-B9D6-2069ADD8C600}" dt="2022-08-19T22:41:04.831" v="2198" actId="26606"/>
          <ac:spMkLst>
            <pc:docMk/>
            <pc:sldMk cId="2398588293" sldId="4223"/>
            <ac:spMk id="26" creationId="{1A9F23AD-7A55-49F3-A3EC-743F47F36B0E}"/>
          </ac:spMkLst>
        </pc:spChg>
        <pc:spChg chg="add">
          <ac:chgData name="Javier Trujillo" userId="32d8328a-de3f-445e-867d-9214b7ae5b6a" providerId="ADAL" clId="{345DE1AF-63AB-48AD-B9D6-2069ADD8C600}" dt="2022-08-19T22:41:04.831" v="2198" actId="26606"/>
          <ac:spMkLst>
            <pc:docMk/>
            <pc:sldMk cId="2398588293" sldId="4223"/>
            <ac:spMk id="27" creationId="{D7D9F91F-72C9-4DB9-ABD0-A8180D8262D5}"/>
          </ac:spMkLst>
        </pc:spChg>
        <pc:spChg chg="add">
          <ac:chgData name="Javier Trujillo" userId="32d8328a-de3f-445e-867d-9214b7ae5b6a" providerId="ADAL" clId="{345DE1AF-63AB-48AD-B9D6-2069ADD8C600}" dt="2022-08-19T22:41:04.831" v="2198" actId="26606"/>
          <ac:spMkLst>
            <pc:docMk/>
            <pc:sldMk cId="2398588293" sldId="4223"/>
            <ac:spMk id="28" creationId="{BE016956-CE9F-4946-8834-A8BC3529D0F6}"/>
          </ac:spMkLst>
        </pc:spChg>
        <pc:spChg chg="add del">
          <ac:chgData name="Javier Trujillo" userId="32d8328a-de3f-445e-867d-9214b7ae5b6a" providerId="ADAL" clId="{345DE1AF-63AB-48AD-B9D6-2069ADD8C600}" dt="2022-08-19T22:39:36.840" v="2188" actId="26606"/>
          <ac:spMkLst>
            <pc:docMk/>
            <pc:sldMk cId="2398588293" sldId="4223"/>
            <ac:spMk id="29" creationId="{BFDC535F-AC0A-417D-96AB-6706BECACD95}"/>
          </ac:spMkLst>
        </pc:spChg>
        <pc:spChg chg="add del">
          <ac:chgData name="Javier Trujillo" userId="32d8328a-de3f-445e-867d-9214b7ae5b6a" providerId="ADAL" clId="{345DE1AF-63AB-48AD-B9D6-2069ADD8C600}" dt="2022-08-19T22:39:36.840" v="2188" actId="26606"/>
          <ac:spMkLst>
            <pc:docMk/>
            <pc:sldMk cId="2398588293" sldId="4223"/>
            <ac:spMk id="30" creationId="{97AAAF8E-31DB-4148-8FCA-4D8233D691C6}"/>
          </ac:spMkLst>
        </pc:spChg>
        <pc:spChg chg="add del">
          <ac:chgData name="Javier Trujillo" userId="32d8328a-de3f-445e-867d-9214b7ae5b6a" providerId="ADAL" clId="{345DE1AF-63AB-48AD-B9D6-2069ADD8C600}" dt="2022-08-19T22:39:36.840" v="2188" actId="26606"/>
          <ac:spMkLst>
            <pc:docMk/>
            <pc:sldMk cId="2398588293" sldId="4223"/>
            <ac:spMk id="31" creationId="{AA274328-4774-4DF9-BA53-452565122FBB}"/>
          </ac:spMkLst>
        </pc:spChg>
        <pc:spChg chg="add del">
          <ac:chgData name="Javier Trujillo" userId="32d8328a-de3f-445e-867d-9214b7ae5b6a" providerId="ADAL" clId="{345DE1AF-63AB-48AD-B9D6-2069ADD8C600}" dt="2022-08-19T22:39:36.840" v="2188" actId="26606"/>
          <ac:spMkLst>
            <pc:docMk/>
            <pc:sldMk cId="2398588293" sldId="4223"/>
            <ac:spMk id="32" creationId="{01C7B46D-2FEF-4FAA-915B-8B21A66BB647}"/>
          </ac:spMkLst>
        </pc:spChg>
        <pc:spChg chg="add del">
          <ac:chgData name="Javier Trujillo" userId="32d8328a-de3f-445e-867d-9214b7ae5b6a" providerId="ADAL" clId="{345DE1AF-63AB-48AD-B9D6-2069ADD8C600}" dt="2022-08-19T22:39:37.516" v="2190" actId="26606"/>
          <ac:spMkLst>
            <pc:docMk/>
            <pc:sldMk cId="2398588293" sldId="4223"/>
            <ac:spMk id="34" creationId="{9527FCEA-6143-4C5E-8C45-8AC9237ADE89}"/>
          </ac:spMkLst>
        </pc:spChg>
        <pc:spChg chg="add del">
          <ac:chgData name="Javier Trujillo" userId="32d8328a-de3f-445e-867d-9214b7ae5b6a" providerId="ADAL" clId="{345DE1AF-63AB-48AD-B9D6-2069ADD8C600}" dt="2022-08-19T22:39:37.516" v="2190" actId="26606"/>
          <ac:spMkLst>
            <pc:docMk/>
            <pc:sldMk cId="2398588293" sldId="4223"/>
            <ac:spMk id="35" creationId="{1A9F23AD-7A55-49F3-A3EC-743F47F36B0E}"/>
          </ac:spMkLst>
        </pc:spChg>
        <pc:spChg chg="add del">
          <ac:chgData name="Javier Trujillo" userId="32d8328a-de3f-445e-867d-9214b7ae5b6a" providerId="ADAL" clId="{345DE1AF-63AB-48AD-B9D6-2069ADD8C600}" dt="2022-08-19T22:39:37.516" v="2190" actId="26606"/>
          <ac:spMkLst>
            <pc:docMk/>
            <pc:sldMk cId="2398588293" sldId="4223"/>
            <ac:spMk id="36" creationId="{BE016956-CE9F-4946-8834-A8BC3529D0F6}"/>
          </ac:spMkLst>
        </pc:spChg>
        <pc:spChg chg="add del">
          <ac:chgData name="Javier Trujillo" userId="32d8328a-de3f-445e-867d-9214b7ae5b6a" providerId="ADAL" clId="{345DE1AF-63AB-48AD-B9D6-2069ADD8C600}" dt="2022-08-19T22:39:43.470" v="2192" actId="26606"/>
          <ac:spMkLst>
            <pc:docMk/>
            <pc:sldMk cId="2398588293" sldId="4223"/>
            <ac:spMk id="38" creationId="{799448F2-0E5B-42DA-B2D1-11A14E947BD4}"/>
          </ac:spMkLst>
        </pc:spChg>
        <pc:spChg chg="add del">
          <ac:chgData name="Javier Trujillo" userId="32d8328a-de3f-445e-867d-9214b7ae5b6a" providerId="ADAL" clId="{345DE1AF-63AB-48AD-B9D6-2069ADD8C600}" dt="2022-08-19T22:39:43.470" v="2192" actId="26606"/>
          <ac:spMkLst>
            <pc:docMk/>
            <pc:sldMk cId="2398588293" sldId="4223"/>
            <ac:spMk id="39" creationId="{4E8A7552-20E1-4F34-ADAB-C1DB6634D47E}"/>
          </ac:spMkLst>
        </pc:spChg>
        <pc:grpChg chg="add del">
          <ac:chgData name="Javier Trujillo" userId="32d8328a-de3f-445e-867d-9214b7ae5b6a" providerId="ADAL" clId="{345DE1AF-63AB-48AD-B9D6-2069ADD8C600}" dt="2022-08-19T22:39:35.810" v="2186" actId="26606"/>
          <ac:grpSpMkLst>
            <pc:docMk/>
            <pc:sldMk cId="2398588293" sldId="4223"/>
            <ac:grpSpMk id="17" creationId="{4F4CD6D0-5A87-4BA2-A13A-0E40511C3CFA}"/>
          </ac:grpSpMkLst>
        </pc:grpChg>
        <pc:grpChg chg="add del">
          <ac:chgData name="Javier Trujillo" userId="32d8328a-de3f-445e-867d-9214b7ae5b6a" providerId="ADAL" clId="{345DE1AF-63AB-48AD-B9D6-2069ADD8C600}" dt="2022-08-19T22:39:35.810" v="2186" actId="26606"/>
          <ac:grpSpMkLst>
            <pc:docMk/>
            <pc:sldMk cId="2398588293" sldId="4223"/>
            <ac:grpSpMk id="21" creationId="{E9537076-EF48-4F72-9164-FD8260D550AC}"/>
          </ac:grpSpMkLst>
        </pc:grpChg>
        <pc:grpChg chg="add del">
          <ac:chgData name="Javier Trujillo" userId="32d8328a-de3f-445e-867d-9214b7ae5b6a" providerId="ADAL" clId="{345DE1AF-63AB-48AD-B9D6-2069ADD8C600}" dt="2022-08-19T22:39:35.810" v="2186" actId="26606"/>
          <ac:grpSpMkLst>
            <pc:docMk/>
            <pc:sldMk cId="2398588293" sldId="4223"/>
            <ac:grpSpMk id="25" creationId="{6EFC3492-86BD-4D75-B5B4-C2DBFE0BD106}"/>
          </ac:grpSpMkLst>
        </pc:grpChg>
        <pc:picChg chg="add del mod">
          <ac:chgData name="Javier Trujillo" userId="32d8328a-de3f-445e-867d-9214b7ae5b6a" providerId="ADAL" clId="{345DE1AF-63AB-48AD-B9D6-2069ADD8C600}" dt="2022-08-19T22:31:12.329" v="2161" actId="478"/>
          <ac:picMkLst>
            <pc:docMk/>
            <pc:sldMk cId="2398588293" sldId="4223"/>
            <ac:picMk id="7" creationId="{789FB568-D96D-F4F0-53A7-D9AD6B67711F}"/>
          </ac:picMkLst>
        </pc:picChg>
        <pc:picChg chg="add mod ord">
          <ac:chgData name="Javier Trujillo" userId="32d8328a-de3f-445e-867d-9214b7ae5b6a" providerId="ADAL" clId="{345DE1AF-63AB-48AD-B9D6-2069ADD8C600}" dt="2022-08-19T22:41:04.831" v="2198" actId="26606"/>
          <ac:picMkLst>
            <pc:docMk/>
            <pc:sldMk cId="2398588293" sldId="4223"/>
            <ac:picMk id="8" creationId="{B78951A2-4579-7291-B114-062A5B479278}"/>
          </ac:picMkLst>
        </pc:picChg>
        <pc:picChg chg="add mod">
          <ac:chgData name="Javier Trujillo" userId="32d8328a-de3f-445e-867d-9214b7ae5b6a" providerId="ADAL" clId="{345DE1AF-63AB-48AD-B9D6-2069ADD8C600}" dt="2022-08-19T22:41:04.831" v="2198" actId="26606"/>
          <ac:picMkLst>
            <pc:docMk/>
            <pc:sldMk cId="2398588293" sldId="4223"/>
            <ac:picMk id="9" creationId="{5656598B-24C9-781A-DF23-305BAAF7699F}"/>
          </ac:picMkLst>
        </pc:picChg>
        <pc:picChg chg="add del mod">
          <ac:chgData name="Javier Trujillo" userId="32d8328a-de3f-445e-867d-9214b7ae5b6a" providerId="ADAL" clId="{345DE1AF-63AB-48AD-B9D6-2069ADD8C600}" dt="2022-08-19T22:48:08.073" v="2246" actId="478"/>
          <ac:picMkLst>
            <pc:docMk/>
            <pc:sldMk cId="2398588293" sldId="4223"/>
            <ac:picMk id="10" creationId="{7017D6C4-C985-D684-BDAE-BDBD8DBC4605}"/>
          </ac:picMkLst>
        </pc:picChg>
        <pc:picChg chg="add mod">
          <ac:chgData name="Javier Trujillo" userId="32d8328a-de3f-445e-867d-9214b7ae5b6a" providerId="ADAL" clId="{345DE1AF-63AB-48AD-B9D6-2069ADD8C600}" dt="2022-08-19T22:48:26.259" v="2255" actId="1076"/>
          <ac:picMkLst>
            <pc:docMk/>
            <pc:sldMk cId="2398588293" sldId="4223"/>
            <ac:picMk id="11" creationId="{6C5761C8-321B-3732-9674-F0A010212ADE}"/>
          </ac:picMkLst>
        </pc:picChg>
      </pc:sldChg>
      <pc:sldChg chg="addSp delSp modSp new mod">
        <pc:chgData name="Javier Trujillo" userId="32d8328a-de3f-445e-867d-9214b7ae5b6a" providerId="ADAL" clId="{345DE1AF-63AB-48AD-B9D6-2069ADD8C600}" dt="2022-08-19T23:12:15.373" v="2720" actId="113"/>
        <pc:sldMkLst>
          <pc:docMk/>
          <pc:sldMk cId="4097859270" sldId="4224"/>
        </pc:sldMkLst>
        <pc:spChg chg="del">
          <ac:chgData name="Javier Trujillo" userId="32d8328a-de3f-445e-867d-9214b7ae5b6a" providerId="ADAL" clId="{345DE1AF-63AB-48AD-B9D6-2069ADD8C600}" dt="2022-08-19T22:59:33.935" v="2360" actId="478"/>
          <ac:spMkLst>
            <pc:docMk/>
            <pc:sldMk cId="4097859270" sldId="4224"/>
            <ac:spMk id="2" creationId="{1E7D23AC-8556-72CF-DF4B-633BC1268C61}"/>
          </ac:spMkLst>
        </pc:spChg>
        <pc:spChg chg="del">
          <ac:chgData name="Javier Trujillo" userId="32d8328a-de3f-445e-867d-9214b7ae5b6a" providerId="ADAL" clId="{345DE1AF-63AB-48AD-B9D6-2069ADD8C600}" dt="2022-08-19T22:59:35.450" v="2361" actId="478"/>
          <ac:spMkLst>
            <pc:docMk/>
            <pc:sldMk cId="4097859270" sldId="4224"/>
            <ac:spMk id="3" creationId="{30BF8680-853E-78EA-83B1-0DE56F786C2F}"/>
          </ac:spMkLst>
        </pc:spChg>
        <pc:spChg chg="add mod">
          <ac:chgData name="Javier Trujillo" userId="32d8328a-de3f-445e-867d-9214b7ae5b6a" providerId="ADAL" clId="{345DE1AF-63AB-48AD-B9D6-2069ADD8C600}" dt="2022-08-19T22:59:47.658" v="2362"/>
          <ac:spMkLst>
            <pc:docMk/>
            <pc:sldMk cId="4097859270" sldId="4224"/>
            <ac:spMk id="4" creationId="{102FCF5F-81E4-FB68-4D5D-3A17DA4DD04A}"/>
          </ac:spMkLst>
        </pc:spChg>
        <pc:spChg chg="add mod">
          <ac:chgData name="Javier Trujillo" userId="32d8328a-de3f-445e-867d-9214b7ae5b6a" providerId="ADAL" clId="{345DE1AF-63AB-48AD-B9D6-2069ADD8C600}" dt="2022-08-19T23:12:15.373" v="2720" actId="113"/>
          <ac:spMkLst>
            <pc:docMk/>
            <pc:sldMk cId="4097859270" sldId="4224"/>
            <ac:spMk id="5" creationId="{BC2AAB22-059B-98BD-2ECE-F7AB087724A2}"/>
          </ac:spMkLst>
        </pc:spChg>
        <pc:picChg chg="add mod">
          <ac:chgData name="Javier Trujillo" userId="32d8328a-de3f-445e-867d-9214b7ae5b6a" providerId="ADAL" clId="{345DE1AF-63AB-48AD-B9D6-2069ADD8C600}" dt="2022-08-19T23:00:01.859" v="2364"/>
          <ac:picMkLst>
            <pc:docMk/>
            <pc:sldMk cId="4097859270" sldId="4224"/>
            <ac:picMk id="6" creationId="{E3DB8D23-BC95-ABD3-C450-CAB0C49E6AC9}"/>
          </ac:picMkLst>
        </pc:picChg>
      </pc:sldChg>
      <pc:sldChg chg="addSp delSp modSp new mod ord">
        <pc:chgData name="Javier Trujillo" userId="32d8328a-de3f-445e-867d-9214b7ae5b6a" providerId="ADAL" clId="{345DE1AF-63AB-48AD-B9D6-2069ADD8C600}" dt="2022-08-19T23:01:36.412" v="2382" actId="1076"/>
        <pc:sldMkLst>
          <pc:docMk/>
          <pc:sldMk cId="3251742296" sldId="4225"/>
        </pc:sldMkLst>
        <pc:spChg chg="del">
          <ac:chgData name="Javier Trujillo" userId="32d8328a-de3f-445e-867d-9214b7ae5b6a" providerId="ADAL" clId="{345DE1AF-63AB-48AD-B9D6-2069ADD8C600}" dt="2022-08-19T23:00:49.090" v="2369" actId="478"/>
          <ac:spMkLst>
            <pc:docMk/>
            <pc:sldMk cId="3251742296" sldId="4225"/>
            <ac:spMk id="2" creationId="{B1428777-37AF-3E2F-F371-FDC6AE83C703}"/>
          </ac:spMkLst>
        </pc:spChg>
        <pc:spChg chg="del">
          <ac:chgData name="Javier Trujillo" userId="32d8328a-de3f-445e-867d-9214b7ae5b6a" providerId="ADAL" clId="{345DE1AF-63AB-48AD-B9D6-2069ADD8C600}" dt="2022-08-19T23:00:50.348" v="2370" actId="478"/>
          <ac:spMkLst>
            <pc:docMk/>
            <pc:sldMk cId="3251742296" sldId="4225"/>
            <ac:spMk id="3" creationId="{A982B6D7-968D-5943-02B1-F801DBCA27F2}"/>
          </ac:spMkLst>
        </pc:spChg>
        <pc:picChg chg="add mod">
          <ac:chgData name="Javier Trujillo" userId="32d8328a-de3f-445e-867d-9214b7ae5b6a" providerId="ADAL" clId="{345DE1AF-63AB-48AD-B9D6-2069ADD8C600}" dt="2022-08-19T23:01:01.160" v="2372" actId="1076"/>
          <ac:picMkLst>
            <pc:docMk/>
            <pc:sldMk cId="3251742296" sldId="4225"/>
            <ac:picMk id="4" creationId="{92F5F223-A877-2687-DCE3-9E0AFAFC2215}"/>
          </ac:picMkLst>
        </pc:picChg>
        <pc:picChg chg="add mod">
          <ac:chgData name="Javier Trujillo" userId="32d8328a-de3f-445e-867d-9214b7ae5b6a" providerId="ADAL" clId="{345DE1AF-63AB-48AD-B9D6-2069ADD8C600}" dt="2022-08-19T23:01:36.412" v="2382" actId="1076"/>
          <ac:picMkLst>
            <pc:docMk/>
            <pc:sldMk cId="3251742296" sldId="4225"/>
            <ac:picMk id="5" creationId="{60954682-CADE-06CC-5FB8-669788D5EE2E}"/>
          </ac:picMkLst>
        </pc:picChg>
        <pc:picChg chg="add mod">
          <ac:chgData name="Javier Trujillo" userId="32d8328a-de3f-445e-867d-9214b7ae5b6a" providerId="ADAL" clId="{345DE1AF-63AB-48AD-B9D6-2069ADD8C600}" dt="2022-08-19T23:01:33.338" v="2381" actId="14100"/>
          <ac:picMkLst>
            <pc:docMk/>
            <pc:sldMk cId="3251742296" sldId="4225"/>
            <ac:picMk id="6" creationId="{5839F0E9-AC31-A58A-184F-02474092C93B}"/>
          </ac:picMkLst>
        </pc:picChg>
      </pc:sldChg>
      <pc:sldMasterChg chg="del delSldLayout">
        <pc:chgData name="Javier Trujillo" userId="32d8328a-de3f-445e-867d-9214b7ae5b6a" providerId="ADAL" clId="{345DE1AF-63AB-48AD-B9D6-2069ADD8C600}" dt="2022-08-19T18:47:16.089" v="572" actId="47"/>
        <pc:sldMasterMkLst>
          <pc:docMk/>
          <pc:sldMasterMk cId="3320520127" sldId="2147483738"/>
        </pc:sldMasterMkLst>
        <pc:sldLayoutChg chg="del">
          <pc:chgData name="Javier Trujillo" userId="32d8328a-de3f-445e-867d-9214b7ae5b6a" providerId="ADAL" clId="{345DE1AF-63AB-48AD-B9D6-2069ADD8C600}" dt="2022-08-19T18:47:16.089" v="572" actId="47"/>
          <pc:sldLayoutMkLst>
            <pc:docMk/>
            <pc:sldMasterMk cId="3320520127" sldId="2147483738"/>
            <pc:sldLayoutMk cId="2066878550" sldId="2147483739"/>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2647475453" sldId="2147483740"/>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3016874025" sldId="2147483741"/>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2768067485" sldId="2147483742"/>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3219719565" sldId="2147483743"/>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3311136238" sldId="2147483744"/>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1540890373" sldId="2147483745"/>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512658410" sldId="2147483746"/>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1898914514" sldId="2147483747"/>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2081459870" sldId="2147483748"/>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3728867545" sldId="2147483749"/>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3516373162" sldId="2147483750"/>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1367242955" sldId="2147483751"/>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2850007147" sldId="2147483752"/>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1035968154" sldId="2147483753"/>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1989513812" sldId="2147483754"/>
          </pc:sldLayoutMkLst>
        </pc:sldLayoutChg>
        <pc:sldLayoutChg chg="del">
          <pc:chgData name="Javier Trujillo" userId="32d8328a-de3f-445e-867d-9214b7ae5b6a" providerId="ADAL" clId="{345DE1AF-63AB-48AD-B9D6-2069ADD8C600}" dt="2022-08-19T18:47:16.089" v="572" actId="47"/>
          <pc:sldLayoutMkLst>
            <pc:docMk/>
            <pc:sldMasterMk cId="3320520127" sldId="2147483738"/>
            <pc:sldLayoutMk cId="3736148221" sldId="214748375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https://transunion.sharepoint.com/sites/MarketDevelopment2/Shared%20Documents/Thought%20Leadership%20Work/Summit%202022/Copy%20of%20General%20insurance%20and%20Cyber%20tabs.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https://transunion.sharepoint.com/sites/MarketDevelopment2/Shared%20Documents/Thought%20Leadership%20Work/Summit%202022/Copy%20of%20General%20insurance%20and%20Cyber%20tabs.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accent1"/>
            </a:solidFill>
          </c:spPr>
          <c:dPt>
            <c:idx val="0"/>
            <c:bubble3D val="0"/>
            <c:spPr>
              <a:solidFill>
                <a:sysClr val="window" lastClr="FFFFFF"/>
              </a:solidFill>
              <a:ln w="19050">
                <a:noFill/>
              </a:ln>
              <a:effectLst/>
            </c:spPr>
            <c:extLst>
              <c:ext xmlns:c16="http://schemas.microsoft.com/office/drawing/2014/chart" uri="{C3380CC4-5D6E-409C-BE32-E72D297353CC}">
                <c16:uniqueId val="{00000001-FD53-4D5E-ABDB-D41C52C2A558}"/>
              </c:ext>
            </c:extLst>
          </c:dPt>
          <c:dPt>
            <c:idx val="1"/>
            <c:bubble3D val="0"/>
            <c:spPr>
              <a:noFill/>
              <a:ln w="19050">
                <a:noFill/>
              </a:ln>
              <a:effectLst/>
            </c:spPr>
            <c:extLst>
              <c:ext xmlns:c16="http://schemas.microsoft.com/office/drawing/2014/chart" uri="{C3380CC4-5D6E-409C-BE32-E72D297353CC}">
                <c16:uniqueId val="{00000003-FD53-4D5E-ABDB-D41C52C2A558}"/>
              </c:ext>
            </c:extLst>
          </c:dPt>
          <c:cat>
            <c:strRef>
              <c:f>Sheet1!$A$2:$A$3</c:f>
              <c:strCache>
                <c:ptCount val="2"/>
                <c:pt idx="0">
                  <c:v>1st Qtr</c:v>
                </c:pt>
                <c:pt idx="1">
                  <c:v>2nd Qtr</c:v>
                </c:pt>
              </c:strCache>
            </c:strRef>
          </c:cat>
          <c:val>
            <c:numRef>
              <c:f>Sheet1!$B$2:$B$3</c:f>
              <c:numCache>
                <c:formatCode>0.00%</c:formatCode>
                <c:ptCount val="2"/>
                <c:pt idx="0" formatCode="0%">
                  <c:v>0.86</c:v>
                </c:pt>
                <c:pt idx="1">
                  <c:v>0.14000000000000001</c:v>
                </c:pt>
              </c:numCache>
            </c:numRef>
          </c:val>
          <c:extLst>
            <c:ext xmlns:c16="http://schemas.microsoft.com/office/drawing/2014/chart" uri="{C3380CC4-5D6E-409C-BE32-E72D297353CC}">
              <c16:uniqueId val="{00000004-FD53-4D5E-ABDB-D41C52C2A55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ysClr val="window" lastClr="FFFFFF"/>
              </a:solidFill>
              <a:ln w="19050">
                <a:noFill/>
              </a:ln>
              <a:effectLst/>
            </c:spPr>
            <c:extLst>
              <c:ext xmlns:c16="http://schemas.microsoft.com/office/drawing/2014/chart" uri="{C3380CC4-5D6E-409C-BE32-E72D297353CC}">
                <c16:uniqueId val="{00000001-65A0-4295-9699-8AD6F8B66044}"/>
              </c:ext>
            </c:extLst>
          </c:dPt>
          <c:dPt>
            <c:idx val="1"/>
            <c:bubble3D val="0"/>
            <c:spPr>
              <a:noFill/>
              <a:ln w="19050">
                <a:noFill/>
              </a:ln>
              <a:effectLst/>
            </c:spPr>
            <c:extLst>
              <c:ext xmlns:c16="http://schemas.microsoft.com/office/drawing/2014/chart" uri="{C3380CC4-5D6E-409C-BE32-E72D297353CC}">
                <c16:uniqueId val="{00000003-65A0-4295-9699-8AD6F8B66044}"/>
              </c:ext>
            </c:extLst>
          </c:dPt>
          <c:cat>
            <c:strRef>
              <c:f>Sheet1!$A$2:$A$3</c:f>
              <c:strCache>
                <c:ptCount val="2"/>
                <c:pt idx="0">
                  <c:v>1st Qtr</c:v>
                </c:pt>
                <c:pt idx="1">
                  <c:v>2nd Qtr</c:v>
                </c:pt>
              </c:strCache>
            </c:strRef>
          </c:cat>
          <c:val>
            <c:numRef>
              <c:f>Sheet1!$B$2:$B$3</c:f>
              <c:numCache>
                <c:formatCode>0.00%</c:formatCode>
                <c:ptCount val="2"/>
                <c:pt idx="0" formatCode="0%">
                  <c:v>0.69</c:v>
                </c:pt>
                <c:pt idx="1">
                  <c:v>0.31000000000000005</c:v>
                </c:pt>
              </c:numCache>
            </c:numRef>
          </c:val>
          <c:extLst>
            <c:ext xmlns:c16="http://schemas.microsoft.com/office/drawing/2014/chart" uri="{C3380CC4-5D6E-409C-BE32-E72D297353CC}">
              <c16:uniqueId val="{00000004-65A0-4295-9699-8AD6F8B6604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56911855649831"/>
          <c:y val="6.2428857689989216E-2"/>
          <c:w val="0.39492859606357666"/>
          <c:h val="0.91168606494882232"/>
        </c:manualLayout>
      </c:layout>
      <c:pieChart>
        <c:varyColors val="1"/>
        <c:ser>
          <c:idx val="0"/>
          <c:order val="0"/>
          <c:spPr>
            <a:ln>
              <a:noFill/>
            </a:ln>
            <a:effectLst>
              <a:outerShdw blurRad="50800" dist="38100" dir="8100000" algn="tr" rotWithShape="0">
                <a:prstClr val="black">
                  <a:alpha val="40000"/>
                </a:prstClr>
              </a:outerShdw>
            </a:effectLst>
          </c:spPr>
          <c:dPt>
            <c:idx val="0"/>
            <c:bubble3D val="0"/>
            <c:spPr>
              <a:solidFill>
                <a:schemeClr val="accent1"/>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1-F819-470B-950C-CFD37755E670}"/>
              </c:ext>
            </c:extLst>
          </c:dPt>
          <c:dPt>
            <c:idx val="1"/>
            <c:bubble3D val="0"/>
            <c:spPr>
              <a:solidFill>
                <a:schemeClr val="accent2"/>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3-F819-470B-950C-CFD37755E670}"/>
              </c:ext>
            </c:extLst>
          </c:dPt>
          <c:dPt>
            <c:idx val="2"/>
            <c:bubble3D val="0"/>
            <c:spPr>
              <a:solidFill>
                <a:schemeClr val="accent3"/>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5-F819-470B-950C-CFD37755E670}"/>
              </c:ext>
            </c:extLst>
          </c:dPt>
          <c:dPt>
            <c:idx val="3"/>
            <c:bubble3D val="0"/>
            <c:spPr>
              <a:solidFill>
                <a:schemeClr val="accent4"/>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7-F819-470B-950C-CFD37755E670}"/>
              </c:ext>
            </c:extLst>
          </c:dPt>
          <c:dPt>
            <c:idx val="4"/>
            <c:bubble3D val="0"/>
            <c:spPr>
              <a:solidFill>
                <a:schemeClr val="accent5"/>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9-F819-470B-950C-CFD37755E670}"/>
              </c:ext>
            </c:extLst>
          </c:dPt>
          <c:dPt>
            <c:idx val="5"/>
            <c:bubble3D val="0"/>
            <c:spPr>
              <a:solidFill>
                <a:schemeClr val="accent6"/>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B-F819-470B-950C-CFD37755E670}"/>
              </c:ext>
            </c:extLst>
          </c:dPt>
          <c:dPt>
            <c:idx val="6"/>
            <c:bubble3D val="0"/>
            <c:spPr>
              <a:solidFill>
                <a:schemeClr val="accent1">
                  <a:lumMod val="60000"/>
                </a:schemeClr>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D-F819-470B-950C-CFD37755E670}"/>
              </c:ext>
            </c:extLst>
          </c:dPt>
          <c:dLbls>
            <c:dLbl>
              <c:idx val="0"/>
              <c:layout>
                <c:manualLayout>
                  <c:x val="-5.8793360252826304E-2"/>
                  <c:y val="0.16952685788904953"/>
                </c:manualLayout>
              </c:layout>
              <c:numFmt formatCode="0%" sourceLinked="0"/>
              <c:spPr>
                <a:solidFill>
                  <a:schemeClr val="bg1"/>
                </a:solidFill>
                <a:ln>
                  <a:noFill/>
                </a:ln>
                <a:effectLst>
                  <a:outerShdw blurRad="50800" dist="38100" dir="8100000" algn="tr" rotWithShape="0">
                    <a:prstClr val="black">
                      <a:alpha val="40000"/>
                    </a:prstClr>
                  </a:outerShdw>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8.3868195589388156E-2"/>
                      <c:h val="9.7890437984792175E-2"/>
                    </c:manualLayout>
                  </c15:layout>
                </c:ext>
                <c:ext xmlns:c16="http://schemas.microsoft.com/office/drawing/2014/chart" uri="{C3380CC4-5D6E-409C-BE32-E72D297353CC}">
                  <c16:uniqueId val="{00000001-F819-470B-950C-CFD37755E670}"/>
                </c:ext>
              </c:extLst>
            </c:dLbl>
            <c:dLbl>
              <c:idx val="1"/>
              <c:layout>
                <c:manualLayout>
                  <c:x val="-7.9784022032112586E-2"/>
                  <c:y val="-3.54980998868070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19-470B-950C-CFD37755E670}"/>
                </c:ext>
              </c:extLst>
            </c:dLbl>
            <c:dLbl>
              <c:idx val="2"/>
              <c:layout>
                <c:manualLayout>
                  <c:x val="-4.5804333618135191E-2"/>
                  <c:y val="-0.1215913751206344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19-470B-950C-CFD37755E670}"/>
                </c:ext>
              </c:extLst>
            </c:dLbl>
            <c:dLbl>
              <c:idx val="3"/>
              <c:layout>
                <c:manualLayout>
                  <c:x val="4.983677592066163E-2"/>
                  <c:y val="-0.1295089857229101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819-470B-950C-CFD37755E670}"/>
                </c:ext>
              </c:extLst>
            </c:dLbl>
            <c:dLbl>
              <c:idx val="4"/>
              <c:layout>
                <c:manualLayout>
                  <c:x val="7.2457892706423443E-2"/>
                  <c:y val="-7.759349071525552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819-470B-950C-CFD37755E670}"/>
                </c:ext>
              </c:extLst>
            </c:dLbl>
            <c:dLbl>
              <c:idx val="5"/>
              <c:layout>
                <c:manualLayout>
                  <c:x val="6.3633750438290754E-2"/>
                  <c:y val="3.792858530604823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819-470B-950C-CFD37755E670}"/>
                </c:ext>
              </c:extLst>
            </c:dLbl>
            <c:dLbl>
              <c:idx val="6"/>
              <c:layout>
                <c:manualLayout>
                  <c:x val="5.7447511805607275E-2"/>
                  <c:y val="0.1506538234748029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819-470B-950C-CFD37755E670}"/>
                </c:ext>
              </c:extLst>
            </c:dLbl>
            <c:numFmt formatCode="0%" sourceLinked="0"/>
            <c:spPr>
              <a:solidFill>
                <a:schemeClr val="bg1"/>
              </a:solidFill>
              <a:ln>
                <a:noFill/>
              </a:ln>
              <a:effectLst>
                <a:outerShdw blurRad="50800" dist="38100" dir="8100000" algn="tr" rotWithShape="0">
                  <a:prstClr val="black">
                    <a:alpha val="40000"/>
                  </a:prstClr>
                </a:outerShdw>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all answers'!$C$471:$C$477</c:f>
              <c:strCache>
                <c:ptCount val="7"/>
                <c:pt idx="0">
                  <c:v>Digital identity credentials &amp; PII</c:v>
                </c:pt>
                <c:pt idx="1">
                  <c:v>Email scam impact financial accounts</c:v>
                </c:pt>
                <c:pt idx="2">
                  <c:v>Data breach exposing my information held with companies I do business with</c:v>
                </c:pt>
                <c:pt idx="3">
                  <c:v>Ransomware attack targeting personal computer or devices</c:v>
                </c:pt>
                <c:pt idx="4">
                  <c:v>Social media account gets hacked &amp; takeover</c:v>
                </c:pt>
                <c:pt idx="5">
                  <c:v>Cyber bulling event</c:v>
                </c:pt>
                <c:pt idx="6">
                  <c:v>Not concerned about cyber events</c:v>
                </c:pt>
              </c:strCache>
            </c:strRef>
          </c:cat>
          <c:val>
            <c:numRef>
              <c:f>'Overall answers'!$D$471:$D$477</c:f>
              <c:numCache>
                <c:formatCode>#,##0.0%</c:formatCode>
                <c:ptCount val="7"/>
                <c:pt idx="0">
                  <c:v>0.19388868679519825</c:v>
                </c:pt>
                <c:pt idx="1">
                  <c:v>0.16478719534376138</c:v>
                </c:pt>
                <c:pt idx="2">
                  <c:v>0.15278283012004365</c:v>
                </c:pt>
                <c:pt idx="3">
                  <c:v>0.12404510731174972</c:v>
                </c:pt>
                <c:pt idx="4">
                  <c:v>0.1084030556566024</c:v>
                </c:pt>
                <c:pt idx="5">
                  <c:v>7.2389959985449254E-2</c:v>
                </c:pt>
                <c:pt idx="6">
                  <c:v>0.18370316478719534</c:v>
                </c:pt>
              </c:numCache>
            </c:numRef>
          </c:val>
          <c:extLst>
            <c:ext xmlns:c16="http://schemas.microsoft.com/office/drawing/2014/chart" uri="{C3380CC4-5D6E-409C-BE32-E72D297353CC}">
              <c16:uniqueId val="{0000000E-F819-470B-950C-CFD37755E670}"/>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161729439814051E-2"/>
          <c:y val="4.8925233959890936E-2"/>
          <c:w val="0.35894724094256963"/>
          <c:h val="0.93272780330514993"/>
        </c:manualLayout>
      </c:layout>
      <c:pieChart>
        <c:varyColors val="1"/>
        <c:ser>
          <c:idx val="0"/>
          <c:order val="0"/>
          <c:spPr>
            <a:ln>
              <a:noFill/>
            </a:ln>
            <a:effectLst>
              <a:outerShdw blurRad="50800" dist="38100" dir="8100000" algn="tr" rotWithShape="0">
                <a:prstClr val="black">
                  <a:alpha val="40000"/>
                </a:prstClr>
              </a:outerShdw>
            </a:effectLst>
          </c:spPr>
          <c:dPt>
            <c:idx val="0"/>
            <c:bubble3D val="0"/>
            <c:spPr>
              <a:solidFill>
                <a:schemeClr val="accent1"/>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1-0ADE-47DB-B52E-7FB3E49C0BED}"/>
              </c:ext>
            </c:extLst>
          </c:dPt>
          <c:dPt>
            <c:idx val="1"/>
            <c:bubble3D val="0"/>
            <c:spPr>
              <a:solidFill>
                <a:schemeClr val="accent2"/>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3-0ADE-47DB-B52E-7FB3E49C0BED}"/>
              </c:ext>
            </c:extLst>
          </c:dPt>
          <c:dPt>
            <c:idx val="2"/>
            <c:bubble3D val="0"/>
            <c:spPr>
              <a:solidFill>
                <a:schemeClr val="accent3"/>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5-0ADE-47DB-B52E-7FB3E49C0BED}"/>
              </c:ext>
            </c:extLst>
          </c:dPt>
          <c:dPt>
            <c:idx val="3"/>
            <c:bubble3D val="0"/>
            <c:spPr>
              <a:solidFill>
                <a:schemeClr val="accent4"/>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7-0ADE-47DB-B52E-7FB3E49C0BED}"/>
              </c:ext>
            </c:extLst>
          </c:dPt>
          <c:dLbls>
            <c:dLbl>
              <c:idx val="0"/>
              <c:layout>
                <c:manualLayout>
                  <c:x val="-8.608912609856989E-2"/>
                  <c:y val="0.107920831651929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ADE-47DB-B52E-7FB3E49C0BED}"/>
                </c:ext>
              </c:extLst>
            </c:dLbl>
            <c:dLbl>
              <c:idx val="1"/>
              <c:layout>
                <c:manualLayout>
                  <c:x val="-5.1443122507314733E-2"/>
                  <c:y val="-0.1460914227708440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ADE-47DB-B52E-7FB3E49C0BED}"/>
                </c:ext>
              </c:extLst>
            </c:dLbl>
            <c:dLbl>
              <c:idx val="2"/>
              <c:layout>
                <c:manualLayout>
                  <c:x val="5.4191093357345455E-2"/>
                  <c:y val="-0.115587550646766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ADE-47DB-B52E-7FB3E49C0BED}"/>
                </c:ext>
              </c:extLst>
            </c:dLbl>
            <c:dLbl>
              <c:idx val="3"/>
              <c:layout>
                <c:manualLayout>
                  <c:x val="9.5384989724644181E-2"/>
                  <c:y val="6.367262854671830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ADE-47DB-B52E-7FB3E49C0BED}"/>
                </c:ext>
              </c:extLst>
            </c:dLbl>
            <c:numFmt formatCode="0%" sourceLinked="0"/>
            <c:spPr>
              <a:solidFill>
                <a:schemeClr val="bg1"/>
              </a:solidFill>
              <a:ln>
                <a:noFill/>
              </a:ln>
              <a:effectLst>
                <a:outerShdw blurRad="50800" dist="38100" dir="8100000" algn="tr" rotWithShape="0">
                  <a:prstClr val="black">
                    <a:alpha val="40000"/>
                  </a:prstClr>
                </a:outerShdw>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all answers'!$B$499:$C$502</c:f>
              <c:strCache>
                <c:ptCount val="4"/>
                <c:pt idx="0">
                  <c:v>My Insurance Company</c:v>
                </c:pt>
                <c:pt idx="1">
                  <c:v>My Bank</c:v>
                </c:pt>
                <c:pt idx="2">
                  <c:v>My Employer</c:v>
                </c:pt>
                <c:pt idx="3">
                  <c:v>I don’t know where to go to purchase a cyber solution</c:v>
                </c:pt>
              </c:strCache>
            </c:strRef>
          </c:cat>
          <c:val>
            <c:numRef>
              <c:f>'Overall answers'!$D$499:$D$502</c:f>
              <c:numCache>
                <c:formatCode>#,##0.0%</c:formatCode>
                <c:ptCount val="4"/>
                <c:pt idx="0">
                  <c:v>0.31004366812227074</c:v>
                </c:pt>
                <c:pt idx="1">
                  <c:v>0.20705967976710335</c:v>
                </c:pt>
                <c:pt idx="2">
                  <c:v>0.10152838427947598</c:v>
                </c:pt>
                <c:pt idx="3">
                  <c:v>0.38136826783114991</c:v>
                </c:pt>
              </c:numCache>
            </c:numRef>
          </c:val>
          <c:extLst>
            <c:ext xmlns:c16="http://schemas.microsoft.com/office/drawing/2014/chart" uri="{C3380CC4-5D6E-409C-BE32-E72D297353CC}">
              <c16:uniqueId val="{00000008-0ADE-47DB-B52E-7FB3E49C0BE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31558681209859"/>
          <c:y val="0"/>
          <c:w val="0.34282375085230832"/>
          <c:h val="0.96329301730676931"/>
        </c:manualLayout>
      </c:layout>
      <c:pieChart>
        <c:varyColors val="1"/>
        <c:ser>
          <c:idx val="0"/>
          <c:order val="0"/>
          <c:spPr>
            <a:ln>
              <a:noFill/>
            </a:ln>
            <a:effectLst>
              <a:outerShdw blurRad="50800" dist="38100" dir="8100000" algn="tr" rotWithShape="0">
                <a:prstClr val="black">
                  <a:alpha val="40000"/>
                </a:prstClr>
              </a:outerShdw>
            </a:effectLst>
          </c:spPr>
          <c:dPt>
            <c:idx val="0"/>
            <c:bubble3D val="0"/>
            <c:spPr>
              <a:solidFill>
                <a:schemeClr val="accent1"/>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1-F52F-497F-A32F-9FC9F3B490D4}"/>
              </c:ext>
            </c:extLst>
          </c:dPt>
          <c:dPt>
            <c:idx val="1"/>
            <c:bubble3D val="0"/>
            <c:spPr>
              <a:solidFill>
                <a:schemeClr val="accent2"/>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3-F52F-497F-A32F-9FC9F3B490D4}"/>
              </c:ext>
            </c:extLst>
          </c:dPt>
          <c:dPt>
            <c:idx val="2"/>
            <c:bubble3D val="0"/>
            <c:spPr>
              <a:solidFill>
                <a:schemeClr val="accent3"/>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5-F52F-497F-A32F-9FC9F3B490D4}"/>
              </c:ext>
            </c:extLst>
          </c:dPt>
          <c:dPt>
            <c:idx val="3"/>
            <c:bubble3D val="0"/>
            <c:spPr>
              <a:solidFill>
                <a:schemeClr val="accent4"/>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7-F52F-497F-A32F-9FC9F3B490D4}"/>
              </c:ext>
            </c:extLst>
          </c:dPt>
          <c:dPt>
            <c:idx val="4"/>
            <c:bubble3D val="0"/>
            <c:spPr>
              <a:solidFill>
                <a:schemeClr val="accent5"/>
              </a:solidFill>
              <a:ln w="19050">
                <a:noFill/>
              </a:ln>
              <a:effectLst>
                <a:outerShdw blurRad="50800" dist="38100" dir="8100000" algn="tr" rotWithShape="0">
                  <a:prstClr val="black">
                    <a:alpha val="40000"/>
                  </a:prstClr>
                </a:outerShdw>
              </a:effectLst>
            </c:spPr>
            <c:extLst>
              <c:ext xmlns:c16="http://schemas.microsoft.com/office/drawing/2014/chart" uri="{C3380CC4-5D6E-409C-BE32-E72D297353CC}">
                <c16:uniqueId val="{00000009-F52F-497F-A32F-9FC9F3B490D4}"/>
              </c:ext>
            </c:extLst>
          </c:dPt>
          <c:dLbls>
            <c:dLbl>
              <c:idx val="0"/>
              <c:layout>
                <c:manualLayout>
                  <c:x val="-8.3366409913212466E-2"/>
                  <c:y val="6.970260762550498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2F-497F-A32F-9FC9F3B490D4}"/>
                </c:ext>
              </c:extLst>
            </c:dLbl>
            <c:dLbl>
              <c:idx val="1"/>
              <c:layout>
                <c:manualLayout>
                  <c:x val="1.0254471450026434E-2"/>
                  <c:y val="-0.111829323983343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52F-497F-A32F-9FC9F3B490D4}"/>
                </c:ext>
              </c:extLst>
            </c:dLbl>
            <c:dLbl>
              <c:idx val="2"/>
              <c:layout>
                <c:manualLayout>
                  <c:x val="8.7812918003395177E-2"/>
                  <c:y val="-7.6435490487468845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2F-497F-A32F-9FC9F3B490D4}"/>
                </c:ext>
              </c:extLst>
            </c:dLbl>
            <c:dLbl>
              <c:idx val="3"/>
              <c:layout>
                <c:manualLayout>
                  <c:x val="5.772282833207696E-2"/>
                  <c:y val="0.15763256784160745"/>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2F-497F-A32F-9FC9F3B490D4}"/>
                </c:ext>
              </c:extLst>
            </c:dLbl>
            <c:dLbl>
              <c:idx val="4"/>
              <c:layout>
                <c:manualLayout>
                  <c:x val="9.9628294132528532E-3"/>
                  <c:y val="4.16369158191303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52F-497F-A32F-9FC9F3B490D4}"/>
                </c:ext>
              </c:extLst>
            </c:dLbl>
            <c:numFmt formatCode="0%" sourceLinked="0"/>
            <c:spPr>
              <a:solidFill>
                <a:schemeClr val="bg1"/>
              </a:solidFill>
              <a:ln>
                <a:noFill/>
              </a:ln>
              <a:effectLst>
                <a:outerShdw blurRad="50800" dist="38100" dir="8100000" algn="tr" rotWithShape="0">
                  <a:prstClr val="black">
                    <a:alpha val="40000"/>
                  </a:prstClr>
                </a:outerShdw>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verall answers'!$B$511:$C$515</c:f>
              <c:strCache>
                <c:ptCount val="5"/>
                <c:pt idx="0">
                  <c:v>24/7 Cyber Incident Response Live Expert Support</c:v>
                </c:pt>
                <c:pt idx="1">
                  <c:v>Cyber insurance</c:v>
                </c:pt>
                <c:pt idx="2">
                  <c:v>Dark web monitoring of your identity</c:v>
                </c:pt>
                <c:pt idx="3">
                  <c:v>Cyber Education, Tips and Guidance Information</c:v>
                </c:pt>
                <c:pt idx="4">
                  <c:v>Other</c:v>
                </c:pt>
              </c:strCache>
            </c:strRef>
          </c:cat>
          <c:val>
            <c:numRef>
              <c:f>'Overall answers'!$D$511:$D$515</c:f>
              <c:numCache>
                <c:formatCode>#,##0.0%</c:formatCode>
                <c:ptCount val="5"/>
                <c:pt idx="0">
                  <c:v>0.37217771303714492</c:v>
                </c:pt>
                <c:pt idx="1">
                  <c:v>0.28514202476329203</c:v>
                </c:pt>
                <c:pt idx="2">
                  <c:v>0.16496722505462491</c:v>
                </c:pt>
                <c:pt idx="3">
                  <c:v>0.14603058994901674</c:v>
                </c:pt>
                <c:pt idx="4">
                  <c:v>3.1682447195921337E-2</c:v>
                </c:pt>
              </c:numCache>
            </c:numRef>
          </c:val>
          <c:extLst>
            <c:ext xmlns:c16="http://schemas.microsoft.com/office/drawing/2014/chart" uri="{C3380CC4-5D6E-409C-BE32-E72D297353CC}">
              <c16:uniqueId val="{0000000A-F52F-497F-A32F-9FC9F3B490D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00A6CA"/>
            </a:solidFill>
            <a:ln>
              <a:noFill/>
            </a:ln>
          </c:spPr>
          <c:explosion val="2"/>
          <c:dPt>
            <c:idx val="0"/>
            <c:bubble3D val="0"/>
            <c:spPr>
              <a:solidFill>
                <a:srgbClr val="00A6CA"/>
              </a:solidFill>
              <a:ln w="19050">
                <a:noFill/>
              </a:ln>
              <a:effectLst/>
            </c:spPr>
            <c:extLst>
              <c:ext xmlns:c16="http://schemas.microsoft.com/office/drawing/2014/chart" uri="{C3380CC4-5D6E-409C-BE32-E72D297353CC}">
                <c16:uniqueId val="{00000001-1480-4D50-9DFC-4F1FC47E2404}"/>
              </c:ext>
            </c:extLst>
          </c:dPt>
          <c:dPt>
            <c:idx val="1"/>
            <c:bubble3D val="0"/>
            <c:spPr>
              <a:solidFill>
                <a:srgbClr val="FCD800"/>
              </a:solidFill>
              <a:ln w="19050">
                <a:noFill/>
              </a:ln>
              <a:effectLst/>
            </c:spPr>
            <c:extLst>
              <c:ext xmlns:c16="http://schemas.microsoft.com/office/drawing/2014/chart" uri="{C3380CC4-5D6E-409C-BE32-E72D297353CC}">
                <c16:uniqueId val="{00000001-6166-4E38-B597-8D7B4895848E}"/>
              </c:ext>
            </c:extLst>
          </c:dPt>
          <c:dPt>
            <c:idx val="2"/>
            <c:bubble3D val="0"/>
            <c:spPr>
              <a:solidFill>
                <a:srgbClr val="F17123"/>
              </a:solidFill>
              <a:ln w="19050">
                <a:noFill/>
              </a:ln>
              <a:effectLst/>
            </c:spPr>
            <c:extLst>
              <c:ext xmlns:c16="http://schemas.microsoft.com/office/drawing/2014/chart" uri="{C3380CC4-5D6E-409C-BE32-E72D297353CC}">
                <c16:uniqueId val="{00000002-6166-4E38-B597-8D7B4895848E}"/>
              </c:ext>
            </c:extLst>
          </c:dPt>
          <c:dPt>
            <c:idx val="3"/>
            <c:bubble3D val="0"/>
            <c:spPr>
              <a:solidFill>
                <a:srgbClr val="A9D161"/>
              </a:solidFill>
              <a:ln w="19050">
                <a:noFill/>
              </a:ln>
              <a:effectLst/>
            </c:spPr>
            <c:extLst>
              <c:ext xmlns:c16="http://schemas.microsoft.com/office/drawing/2014/chart" uri="{C3380CC4-5D6E-409C-BE32-E72D297353CC}">
                <c16:uniqueId val="{00000003-6166-4E38-B597-8D7B4895848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0-6166-4E38-B597-8D7B4895848E}"/>
            </c:ext>
          </c:extLst>
        </c:ser>
        <c:dLbls>
          <c:showLegendKey val="0"/>
          <c:showVal val="0"/>
          <c:showCatName val="0"/>
          <c:showSerName val="0"/>
          <c:showPercent val="0"/>
          <c:showBubbleSize val="0"/>
          <c:showLeaderLines val="1"/>
        </c:dLbls>
        <c:firstSliceAng val="0"/>
        <c:holeSize val="33"/>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2!$B$1</c:f>
              <c:strCache>
                <c:ptCount val="1"/>
                <c:pt idx="0">
                  <c:v>Number</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C42B-3641-81FA-591E99AC91FB}"/>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C42B-3641-81FA-591E99AC91FB}"/>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C42B-3641-81FA-591E99AC91FB}"/>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C42B-3641-81FA-591E99AC91FB}"/>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C42B-3641-81FA-591E99AC91FB}"/>
              </c:ext>
            </c:extLst>
          </c:dPt>
          <c:dLbls>
            <c:dLbl>
              <c:idx val="0"/>
              <c:tx>
                <c:rich>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fld id="{04338B83-E550-4F49-AD6B-6FE3BAAFBE1A}" type="CATEGORYNAME">
                      <a:rPr lang="en-US" sz="1800"/>
                      <a:pPr>
                        <a:defRPr/>
                      </a:pPr>
                      <a:t>[CATEGORY NAME]</a:t>
                    </a:fld>
                    <a:r>
                      <a:rPr lang="en-US" sz="1800" baseline="0" dirty="0"/>
                      <a:t>
</a:t>
                    </a:r>
                    <a:fld id="{517DF9D5-02F6-425E-9E0D-55DD43D849DB}" type="PERCENTAGE">
                      <a:rPr lang="en-US" sz="1800" baseline="0"/>
                      <a:pPr>
                        <a:defRPr/>
                      </a:pPr>
                      <a:t>[PERCENTAGE]</a:t>
                    </a:fld>
                    <a:endParaRPr lang="en-US" sz="1800" baseline="0" dirty="0"/>
                  </a:p>
                </c:rich>
              </c:tx>
              <c:spPr>
                <a:solidFill>
                  <a:srgbClr val="FFFFFF"/>
                </a:solidFill>
                <a:ln>
                  <a:solidFill>
                    <a:srgbClr val="00A6CA"/>
                  </a:solidFill>
                </a:ln>
                <a:effectLst/>
              </c:spPr>
              <c:txPr>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1-C42B-3641-81FA-591E99AC91FB}"/>
                </c:ext>
              </c:extLst>
            </c:dLbl>
            <c:dLbl>
              <c:idx val="1"/>
              <c:tx>
                <c:rich>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fld id="{BA43A0E2-796C-4689-853A-EE9645477D21}" type="CATEGORYNAME">
                      <a:rPr lang="en-US" sz="1800"/>
                      <a:pPr>
                        <a:defRPr>
                          <a:solidFill>
                            <a:schemeClr val="accent1"/>
                          </a:solidFill>
                        </a:defRPr>
                      </a:pPr>
                      <a:t>[CATEGORY NAME]</a:t>
                    </a:fld>
                    <a:r>
                      <a:rPr lang="en-US" sz="1800" baseline="0" dirty="0"/>
                      <a:t>
</a:t>
                    </a:r>
                    <a:fld id="{ADBD8AFF-ADC5-4406-A95C-DB36082D05F3}" type="PERCENTAGE">
                      <a:rPr lang="en-US" sz="1800" baseline="0"/>
                      <a:pPr>
                        <a:defRPr>
                          <a:solidFill>
                            <a:schemeClr val="accent1"/>
                          </a:solidFill>
                        </a:defRPr>
                      </a:pPr>
                      <a:t>[PERCENTAGE]</a:t>
                    </a:fld>
                    <a:endParaRPr lang="en-US" sz="1800" baseline="0" dirty="0"/>
                  </a:p>
                </c:rich>
              </c:tx>
              <c:spPr>
                <a:solidFill>
                  <a:srgbClr val="FFFFFF"/>
                </a:solidFill>
                <a:ln>
                  <a:solidFill>
                    <a:srgbClr val="00A6CA"/>
                  </a:solidFill>
                </a:ln>
                <a:effectLst/>
              </c:spPr>
              <c:txPr>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3-C42B-3641-81FA-591E99AC91FB}"/>
                </c:ext>
              </c:extLst>
            </c:dLbl>
            <c:dLbl>
              <c:idx val="2"/>
              <c:tx>
                <c:rich>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fld id="{C8A8CBFD-80FE-4F36-972B-982D79553BD8}" type="CATEGORYNAME">
                      <a:rPr lang="en-US" sz="1800"/>
                      <a:pPr>
                        <a:defRPr>
                          <a:solidFill>
                            <a:schemeClr val="accent1"/>
                          </a:solidFill>
                        </a:defRPr>
                      </a:pPr>
                      <a:t>[CATEGORY NAME]</a:t>
                    </a:fld>
                    <a:r>
                      <a:rPr lang="en-US" baseline="0" dirty="0"/>
                      <a:t>
</a:t>
                    </a:r>
                    <a:fld id="{19B792D2-2EDD-4B57-900C-2C565511F937}" type="PERCENTAGE">
                      <a:rPr lang="en-US" sz="1800" baseline="0"/>
                      <a:pPr>
                        <a:defRPr>
                          <a:solidFill>
                            <a:schemeClr val="accent1"/>
                          </a:solidFill>
                        </a:defRPr>
                      </a:pPr>
                      <a:t>[PERCENTAGE]</a:t>
                    </a:fld>
                    <a:endParaRPr lang="en-US" baseline="0" dirty="0"/>
                  </a:p>
                </c:rich>
              </c:tx>
              <c:spPr>
                <a:solidFill>
                  <a:srgbClr val="FFFFFF"/>
                </a:solidFill>
                <a:ln>
                  <a:solidFill>
                    <a:srgbClr val="00A6CA"/>
                  </a:solidFill>
                </a:ln>
                <a:effectLst/>
              </c:spPr>
              <c:txPr>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5-C42B-3641-81FA-591E99AC91FB}"/>
                </c:ext>
              </c:extLst>
            </c:dLbl>
            <c:dLbl>
              <c:idx val="3"/>
              <c:tx>
                <c:rich>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fld id="{EB2678EA-E576-43BD-AA81-2A047F17789A}" type="CATEGORYNAME">
                      <a:rPr lang="en-US" sz="1800"/>
                      <a:pPr>
                        <a:defRPr>
                          <a:solidFill>
                            <a:schemeClr val="accent1"/>
                          </a:solidFill>
                        </a:defRPr>
                      </a:pPr>
                      <a:t>[CATEGORY NAME]</a:t>
                    </a:fld>
                    <a:r>
                      <a:rPr lang="en-US" sz="1800" baseline="0" dirty="0"/>
                      <a:t>
</a:t>
                    </a:r>
                    <a:fld id="{1D7AA159-2B4F-469D-9D40-300B905DA141}" type="PERCENTAGE">
                      <a:rPr lang="en-US" sz="1800" baseline="0"/>
                      <a:pPr>
                        <a:defRPr>
                          <a:solidFill>
                            <a:schemeClr val="accent1"/>
                          </a:solidFill>
                        </a:defRPr>
                      </a:pPr>
                      <a:t>[PERCENTAGE]</a:t>
                    </a:fld>
                    <a:endParaRPr lang="en-US" sz="1800" baseline="0" dirty="0"/>
                  </a:p>
                </c:rich>
              </c:tx>
              <c:spPr>
                <a:solidFill>
                  <a:srgbClr val="FFFFFF"/>
                </a:solidFill>
                <a:ln>
                  <a:solidFill>
                    <a:srgbClr val="00A6CA"/>
                  </a:solidFill>
                </a:ln>
                <a:effectLst/>
              </c:spPr>
              <c:txPr>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7-C42B-3641-81FA-591E99AC91FB}"/>
                </c:ext>
              </c:extLst>
            </c:dLbl>
            <c:dLbl>
              <c:idx val="4"/>
              <c:tx>
                <c:rich>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r>
                      <a:rPr lang="en-US" sz="1800" dirty="0" err="1"/>
                      <a:t>Otro</a:t>
                    </a:r>
                    <a:r>
                      <a:rPr lang="en-US" sz="1800" baseline="0" dirty="0"/>
                      <a:t>
</a:t>
                    </a:r>
                    <a:fld id="{A7722872-48DA-4F9F-9968-AEFF9CA7019F}" type="PERCENTAGE">
                      <a:rPr lang="en-US" sz="1800" baseline="0"/>
                      <a:pPr>
                        <a:defRPr>
                          <a:solidFill>
                            <a:schemeClr val="accent1"/>
                          </a:solidFill>
                        </a:defRPr>
                      </a:pPr>
                      <a:t>[PERCENTAGE]</a:t>
                    </a:fld>
                    <a:endParaRPr lang="en-US" sz="1800" baseline="0" dirty="0"/>
                  </a:p>
                </c:rich>
              </c:tx>
              <c:spPr>
                <a:solidFill>
                  <a:srgbClr val="FFFFFF"/>
                </a:solidFill>
                <a:ln>
                  <a:solidFill>
                    <a:srgbClr val="00A6CA"/>
                  </a:solidFill>
                </a:ln>
                <a:effectLst/>
              </c:spPr>
              <c:txPr>
                <a:bodyPr rot="0" spcFirstLastPara="1" vertOverflow="clip" horzOverflow="clip" vert="horz" wrap="square" lIns="38100" tIns="19050" rIns="38100" bIns="19050" anchor="ctr" anchorCtr="1">
                  <a:spAutoFit/>
                </a:bodyPr>
                <a:lstStyle/>
                <a:p>
                  <a:pPr>
                    <a:defRPr sz="1330" b="1" i="0" u="none" strike="noStrike" kern="120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9-C42B-3641-81FA-591E99AC91FB}"/>
                </c:ext>
              </c:extLst>
            </c:dLbl>
            <c:spPr>
              <a:solidFill>
                <a:srgbClr val="FFFFFF"/>
              </a:solidFill>
              <a:ln>
                <a:solidFill>
                  <a:srgbClr val="00A6CA"/>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2!$A$2:$A$6</c:f>
              <c:strCache>
                <c:ptCount val="5"/>
                <c:pt idx="0">
                  <c:v>Ransom</c:v>
                </c:pt>
                <c:pt idx="1">
                  <c:v>Hacking/Data Breach</c:v>
                </c:pt>
                <c:pt idx="2">
                  <c:v>Social Engineering</c:v>
                </c:pt>
                <c:pt idx="3">
                  <c:v>Staff Mistake</c:v>
                </c:pt>
                <c:pt idx="4">
                  <c:v>Other</c:v>
                </c:pt>
              </c:strCache>
            </c:strRef>
          </c:cat>
          <c:val>
            <c:numRef>
              <c:f>Sheet2!$B$2:$B$6</c:f>
              <c:numCache>
                <c:formatCode>General</c:formatCode>
                <c:ptCount val="5"/>
                <c:pt idx="0">
                  <c:v>111</c:v>
                </c:pt>
                <c:pt idx="1">
                  <c:v>139</c:v>
                </c:pt>
                <c:pt idx="2">
                  <c:v>86</c:v>
                </c:pt>
                <c:pt idx="3">
                  <c:v>9</c:v>
                </c:pt>
                <c:pt idx="4">
                  <c:v>44</c:v>
                </c:pt>
              </c:numCache>
            </c:numRef>
          </c:val>
          <c:extLst>
            <c:ext xmlns:c16="http://schemas.microsoft.com/office/drawing/2014/chart" uri="{C3380CC4-5D6E-409C-BE32-E72D297353CC}">
              <c16:uniqueId val="{0000000A-C42B-3641-81FA-591E99AC91FB}"/>
            </c:ext>
          </c:extLst>
        </c:ser>
        <c:dLbls>
          <c:dLblPos val="outEnd"/>
          <c:showLegendKey val="0"/>
          <c:showVal val="0"/>
          <c:showCatName val="1"/>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N$2</c:f>
              <c:strCache>
                <c:ptCount val="1"/>
                <c:pt idx="0">
                  <c:v>Loss Payment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9271-2147-8627-D181195FFAC9}"/>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9271-2147-8627-D181195FFAC9}"/>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9271-2147-8627-D181195FFAC9}"/>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9271-2147-8627-D181195FFAC9}"/>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9271-2147-8627-D181195FFAC9}"/>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9271-2147-8627-D181195FFAC9}"/>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9271-2147-8627-D181195FFAC9}"/>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9271-2147-8627-D181195FFAC9}"/>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9271-2147-8627-D181195FFAC9}"/>
              </c:ext>
            </c:extLst>
          </c:dPt>
          <c:dLbls>
            <c:dLbl>
              <c:idx val="0"/>
              <c:layout>
                <c:manualLayout>
                  <c:x val="-4.0164916885389326E-2"/>
                  <c:y val="1.8247766157319309E-3"/>
                </c:manualLayout>
              </c:layout>
              <c:tx>
                <c:rich>
                  <a:bodyPr rot="0" spcFirstLastPara="1" vertOverflow="ellipsis" vert="horz" wrap="square" lIns="38100" tIns="19050" rIns="38100" bIns="19050" anchor="ctr" anchorCtr="1">
                    <a:noAutofit/>
                  </a:bodyPr>
                  <a:lstStyle/>
                  <a:p>
                    <a:pPr>
                      <a:defRPr sz="2400" b="1" i="0" u="none" strike="noStrike" kern="1200" spc="0" baseline="0">
                        <a:solidFill>
                          <a:schemeClr val="accent1"/>
                        </a:solidFill>
                        <a:latin typeface="+mn-lt"/>
                        <a:ea typeface="+mn-ea"/>
                        <a:cs typeface="+mn-cs"/>
                      </a:defRPr>
                    </a:pPr>
                    <a:fld id="{FEBB16CE-B78B-4ACB-B55B-ADD8264887E3}" type="CATEGORYNAME">
                      <a:rPr lang="en-US" sz="2400"/>
                      <a:pPr>
                        <a:defRPr sz="2400"/>
                      </a:pPr>
                      <a:t>[CATEGORY NAME]</a:t>
                    </a:fld>
                    <a:r>
                      <a:rPr lang="en-US" sz="2400" baseline="0" dirty="0"/>
                      <a:t>
</a:t>
                    </a:r>
                    <a:fld id="{90229A71-2CBB-4A24-8607-A8A86F129639}" type="PERCENTAGE">
                      <a:rPr lang="en-US" sz="2400" baseline="0"/>
                      <a:pPr>
                        <a:defRPr sz="2400"/>
                      </a:pPr>
                      <a:t>[PERCENTAGE]</a:t>
                    </a:fld>
                    <a:endParaRPr lang="en-US" sz="2400" baseline="0" dirty="0"/>
                  </a:p>
                </c:rich>
              </c:tx>
              <c:spPr>
                <a:noFill/>
                <a:ln>
                  <a:noFill/>
                </a:ln>
                <a:effectLst/>
              </c:spPr>
              <c:txPr>
                <a:bodyPr rot="0" spcFirstLastPara="1" vertOverflow="ellipsis" vert="horz" wrap="square" lIns="38100" tIns="19050" rIns="38100" bIns="19050" anchor="ctr" anchorCtr="1">
                  <a:noAutofit/>
                </a:bodyPr>
                <a:lstStyle/>
                <a:p>
                  <a:pPr>
                    <a:defRPr sz="2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3516111111111111"/>
                      <c:h val="0.2117691099132403"/>
                    </c:manualLayout>
                  </c15:layout>
                  <c15:dlblFieldTable/>
                  <c15:showDataLabelsRange val="0"/>
                </c:ext>
                <c:ext xmlns:c16="http://schemas.microsoft.com/office/drawing/2014/chart" uri="{C3380CC4-5D6E-409C-BE32-E72D297353CC}">
                  <c16:uniqueId val="{00000001-9271-2147-8627-D181195FFAC9}"/>
                </c:ext>
              </c:extLst>
            </c:dLbl>
            <c:dLbl>
              <c:idx val="1"/>
              <c:layout>
                <c:manualLayout>
                  <c:x val="0.15138888888888868"/>
                  <c:y val="7.2991064629277236E-2"/>
                </c:manualLayout>
              </c:layout>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271-2147-8627-D181195FFAC9}"/>
                </c:ext>
              </c:extLst>
            </c:dLbl>
            <c:dLbl>
              <c:idx val="2"/>
              <c:layout>
                <c:manualLayout>
                  <c:x val="5.8333333333333334E-2"/>
                  <c:y val="0.13624998730798416"/>
                </c:manualLayout>
              </c:layout>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3"/>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9271-2147-8627-D181195FFAC9}"/>
                </c:ext>
              </c:extLst>
            </c:dLbl>
            <c:dLbl>
              <c:idx val="3"/>
              <c:layout>
                <c:manualLayout>
                  <c:x val="5.138888888888879E-2"/>
                  <c:y val="0.18734373254847822"/>
                </c:manualLayout>
              </c:layout>
              <c:tx>
                <c:rich>
                  <a:bodyPr rot="0" spcFirstLastPara="1" vertOverflow="ellipsis" vert="horz" wrap="square" lIns="38100" tIns="19050" rIns="38100" bIns="19050" anchor="ctr" anchorCtr="1">
                    <a:spAutoFit/>
                  </a:bodyPr>
                  <a:lstStyle/>
                  <a:p>
                    <a:pPr>
                      <a:defRPr sz="2400" b="1" i="0" u="none" strike="noStrike" kern="1200" spc="0" baseline="0">
                        <a:solidFill>
                          <a:schemeClr val="accent1"/>
                        </a:solidFill>
                        <a:latin typeface="+mn-lt"/>
                        <a:ea typeface="+mn-ea"/>
                        <a:cs typeface="+mn-cs"/>
                      </a:defRPr>
                    </a:pPr>
                    <a:r>
                      <a:rPr lang="en-US" sz="2400" dirty="0" err="1"/>
                      <a:t>Restauración</a:t>
                    </a:r>
                    <a:r>
                      <a:rPr lang="en-US" sz="2400" dirty="0"/>
                      <a:t> de </a:t>
                    </a:r>
                    <a:r>
                      <a:rPr lang="en-US" sz="2400" dirty="0" err="1"/>
                      <a:t>datos</a:t>
                    </a:r>
                    <a:r>
                      <a:rPr lang="en-US" sz="2400" dirty="0"/>
                      <a:t>
3%</a:t>
                    </a:r>
                  </a:p>
                </c:rich>
              </c:tx>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4"/>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9271-2147-8627-D181195FFAC9}"/>
                </c:ext>
              </c:extLst>
            </c:dLbl>
            <c:dLbl>
              <c:idx val="4"/>
              <c:tx>
                <c:rich>
                  <a:bodyPr rot="0" spcFirstLastPara="1" vertOverflow="ellipsis" vert="horz" wrap="square" lIns="38100" tIns="19050" rIns="38100" bIns="19050" anchor="ctr" anchorCtr="1">
                    <a:spAutoFit/>
                  </a:bodyPr>
                  <a:lstStyle/>
                  <a:p>
                    <a:pPr>
                      <a:defRPr sz="2400" b="1" i="0" u="none" strike="noStrike" kern="1200" spc="0" baseline="0">
                        <a:solidFill>
                          <a:schemeClr val="accent1"/>
                        </a:solidFill>
                        <a:latin typeface="+mn-lt"/>
                        <a:ea typeface="+mn-ea"/>
                        <a:cs typeface="+mn-cs"/>
                      </a:defRPr>
                    </a:pPr>
                    <a:r>
                      <a:rPr lang="en-US" sz="2400" b="1" dirty="0" err="1"/>
                      <a:t>Investigación</a:t>
                    </a:r>
                    <a:r>
                      <a:rPr lang="en-US" sz="2400" b="1" dirty="0"/>
                      <a:t> </a:t>
                    </a:r>
                    <a:r>
                      <a:rPr lang="en-US" sz="2400" b="1" dirty="0" err="1"/>
                      <a:t>forense</a:t>
                    </a:r>
                    <a:r>
                      <a:rPr lang="en-US" sz="2400" b="1" dirty="0"/>
                      <a:t> 
27%</a:t>
                    </a:r>
                  </a:p>
                </c:rich>
              </c:tx>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9271-2147-8627-D181195FFAC9}"/>
                </c:ext>
              </c:extLst>
            </c:dLbl>
            <c:dLbl>
              <c:idx val="5"/>
              <c:layout>
                <c:manualLayout>
                  <c:x val="-8.7499999999999994E-2"/>
                  <c:y val="-8.9210270648901918E-17"/>
                </c:manualLayout>
              </c:layout>
              <c:tx>
                <c:rich>
                  <a:bodyPr rot="0" spcFirstLastPara="1" vertOverflow="ellipsis" vert="horz" wrap="square" lIns="38100" tIns="19050" rIns="38100" bIns="19050" anchor="ctr" anchorCtr="1">
                    <a:spAutoFit/>
                  </a:bodyPr>
                  <a:lstStyle/>
                  <a:p>
                    <a:pPr>
                      <a:defRPr sz="2400" b="1" i="0" u="none" strike="noStrike" kern="1200" spc="0" baseline="0">
                        <a:solidFill>
                          <a:schemeClr val="accent1"/>
                        </a:solidFill>
                        <a:latin typeface="+mn-lt"/>
                        <a:ea typeface="+mn-ea"/>
                        <a:cs typeface="+mn-cs"/>
                      </a:defRPr>
                    </a:pPr>
                    <a:r>
                      <a:rPr lang="en-US" sz="2400" dirty="0" err="1"/>
                      <a:t>Reembolso</a:t>
                    </a:r>
                    <a:r>
                      <a:rPr lang="en-US" sz="2400" dirty="0"/>
                      <a:t> </a:t>
                    </a:r>
                    <a:r>
                      <a:rPr lang="en-US" sz="2400" dirty="0" err="1"/>
                      <a:t>asegurado</a:t>
                    </a:r>
                    <a:r>
                      <a:rPr lang="en-US" sz="2400" baseline="0" dirty="0"/>
                      <a:t>
</a:t>
                    </a:r>
                    <a:fld id="{878CD36C-02F6-4B2D-965E-B551B298AE4A}" type="PERCENTAGE">
                      <a:rPr lang="en-US" sz="2400" baseline="0"/>
                      <a:pPr>
                        <a:defRPr sz="2400"/>
                      </a:pPr>
                      <a:t>[PERCENTAGE]</a:t>
                    </a:fld>
                    <a:endParaRPr lang="en-US" sz="2400" baseline="0" dirty="0"/>
                  </a:p>
                </c:rich>
              </c:tx>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6"/>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271-2147-8627-D181195FFAC9}"/>
                </c:ext>
              </c:extLst>
            </c:dLbl>
            <c:dLbl>
              <c:idx val="6"/>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1">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layout>
                    <c:manualLayout>
                      <c:w val="0.2443264435695538"/>
                      <c:h val="0.29240220490488456"/>
                    </c:manualLayout>
                  </c15:layout>
                </c:ext>
                <c:ext xmlns:c16="http://schemas.microsoft.com/office/drawing/2014/chart" uri="{C3380CC4-5D6E-409C-BE32-E72D297353CC}">
                  <c16:uniqueId val="{0000000D-9271-2147-8627-D181195FFAC9}"/>
                </c:ext>
              </c:extLst>
            </c:dLbl>
            <c:dLbl>
              <c:idx val="7"/>
              <c:layout>
                <c:manualLayout>
                  <c:x val="-0.100667760279965"/>
                  <c:y val="0.20315846321815498"/>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spc="0" baseline="0">
                      <a:solidFill>
                        <a:schemeClr val="accent2">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2332153324584427"/>
                      <c:h val="0.24130845966439055"/>
                    </c:manualLayout>
                  </c15:layout>
                </c:ext>
                <c:ext xmlns:c16="http://schemas.microsoft.com/office/drawing/2014/chart" uri="{C3380CC4-5D6E-409C-BE32-E72D297353CC}">
                  <c16:uniqueId val="{0000000F-9271-2147-8627-D181195FFAC9}"/>
                </c:ext>
              </c:extLst>
            </c:dLbl>
            <c:dLbl>
              <c:idx val="8"/>
              <c:layout>
                <c:manualLayout>
                  <c:x val="-4.444444444444446E-2"/>
                  <c:y val="0"/>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spc="0" baseline="0">
                      <a:solidFill>
                        <a:schemeClr val="accent3">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36807644356955382"/>
                      <c:h val="0.31501736555132104"/>
                    </c:manualLayout>
                  </c15:layout>
                </c:ext>
                <c:ext xmlns:c16="http://schemas.microsoft.com/office/drawing/2014/chart" uri="{C3380CC4-5D6E-409C-BE32-E72D297353CC}">
                  <c16:uniqueId val="{00000011-9271-2147-8627-D181195FFAC9}"/>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M$3:$M$11</c:f>
              <c:strCache>
                <c:ptCount val="9"/>
                <c:pt idx="0">
                  <c:v>Breach counsel services </c:v>
                </c:pt>
                <c:pt idx="1">
                  <c:v>Breach fulfillment services </c:v>
                </c:pt>
                <c:pt idx="2">
                  <c:v>Business Interruption </c:v>
                </c:pt>
                <c:pt idx="3">
                  <c:v>Data restoration</c:v>
                </c:pt>
                <c:pt idx="4">
                  <c:v>Forensic investigation </c:v>
                </c:pt>
                <c:pt idx="5">
                  <c:v>Insured Reimbursement</c:v>
                </c:pt>
                <c:pt idx="6">
                  <c:v>IT Expense Reimbursement </c:v>
                </c:pt>
                <c:pt idx="7">
                  <c:v>Ransom Reimbursement </c:v>
                </c:pt>
                <c:pt idx="8">
                  <c:v>Social engineering reimbursement </c:v>
                </c:pt>
              </c:strCache>
            </c:strRef>
          </c:cat>
          <c:val>
            <c:numRef>
              <c:f>Sheet1!$N$3:$N$11</c:f>
              <c:numCache>
                <c:formatCode>General</c:formatCode>
                <c:ptCount val="9"/>
                <c:pt idx="0">
                  <c:v>211945.69999999998</c:v>
                </c:pt>
                <c:pt idx="1">
                  <c:v>112888.64999999998</c:v>
                </c:pt>
                <c:pt idx="2">
                  <c:v>126354.12</c:v>
                </c:pt>
                <c:pt idx="3">
                  <c:v>51614.559999999998</c:v>
                </c:pt>
                <c:pt idx="4">
                  <c:v>520562.27999999997</c:v>
                </c:pt>
                <c:pt idx="5">
                  <c:v>145700.56</c:v>
                </c:pt>
                <c:pt idx="6">
                  <c:v>456737.06</c:v>
                </c:pt>
                <c:pt idx="7">
                  <c:v>147869.91999999998</c:v>
                </c:pt>
                <c:pt idx="8">
                  <c:v>148532.46</c:v>
                </c:pt>
              </c:numCache>
            </c:numRef>
          </c:val>
          <c:extLst>
            <c:ext xmlns:c16="http://schemas.microsoft.com/office/drawing/2014/chart" uri="{C3380CC4-5D6E-409C-BE32-E72D297353CC}">
              <c16:uniqueId val="{00000012-9271-2147-8627-D181195FFAC9}"/>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7779</cdr:x>
      <cdr:y>0</cdr:y>
    </cdr:from>
    <cdr:to>
      <cdr:x>1</cdr:x>
      <cdr:y>1</cdr:y>
    </cdr:to>
    <cdr:sp macro="" textlink="">
      <cdr:nvSpPr>
        <cdr:cNvPr id="2" name="TextBox 1">
          <a:extLst xmlns:a="http://schemas.openxmlformats.org/drawingml/2006/main">
            <a:ext uri="{FF2B5EF4-FFF2-40B4-BE49-F238E27FC236}">
              <a16:creationId xmlns:a16="http://schemas.microsoft.com/office/drawing/2014/main" id="{BCA26CAD-0AE7-7761-7627-DC08DE66E0E1}"/>
            </a:ext>
          </a:extLst>
        </cdr:cNvPr>
        <cdr:cNvSpPr txBox="1"/>
      </cdr:nvSpPr>
      <cdr:spPr>
        <a:xfrm xmlns:a="http://schemas.openxmlformats.org/drawingml/2006/main">
          <a:off x="6205770" y="0"/>
          <a:ext cx="4534689" cy="49227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ES" sz="2200" b="1" dirty="0"/>
            <a:t>Robo de identidad digital</a:t>
          </a:r>
        </a:p>
        <a:p xmlns:a="http://schemas.openxmlformats.org/drawingml/2006/main">
          <a:r>
            <a:rPr lang="es-ES" sz="2200" b="1" dirty="0"/>
            <a:t>Estafa de correo electrónico que afecta a las cuentas bancarias</a:t>
          </a:r>
        </a:p>
        <a:p xmlns:a="http://schemas.openxmlformats.org/drawingml/2006/main">
          <a:r>
            <a:rPr lang="es-ES" sz="2200" b="1" dirty="0"/>
            <a:t>Exposición de datos personales con empresas con las que hago negocio</a:t>
          </a:r>
        </a:p>
        <a:p xmlns:a="http://schemas.openxmlformats.org/drawingml/2006/main">
          <a:r>
            <a:rPr lang="es-ES" sz="2200" dirty="0"/>
            <a:t>Ataque de </a:t>
          </a:r>
          <a:r>
            <a:rPr lang="es-ES" sz="2200" dirty="0" err="1"/>
            <a:t>Ransomeware</a:t>
          </a:r>
          <a:r>
            <a:rPr lang="es-ES" sz="2200" dirty="0"/>
            <a:t> dirigido a dispositivos de computadoras personales </a:t>
          </a:r>
        </a:p>
        <a:p xmlns:a="http://schemas.openxmlformats.org/drawingml/2006/main">
          <a:r>
            <a:rPr lang="es-ES" sz="2200" dirty="0"/>
            <a:t>Hackeo de cuentas de redes sociales </a:t>
          </a:r>
        </a:p>
        <a:p xmlns:a="http://schemas.openxmlformats.org/drawingml/2006/main">
          <a:r>
            <a:rPr lang="es-ES" sz="2200" dirty="0"/>
            <a:t>Evento de </a:t>
          </a:r>
          <a:r>
            <a:rPr lang="es-ES" sz="2200" dirty="0" err="1"/>
            <a:t>cyber</a:t>
          </a:r>
          <a:r>
            <a:rPr lang="es-ES" sz="2200" dirty="0"/>
            <a:t> </a:t>
          </a:r>
          <a:r>
            <a:rPr lang="es-ES" sz="2200" dirty="0" err="1"/>
            <a:t>bulling</a:t>
          </a:r>
          <a:r>
            <a:rPr lang="es-ES" sz="2200" dirty="0"/>
            <a:t> </a:t>
          </a:r>
        </a:p>
        <a:p xmlns:a="http://schemas.openxmlformats.org/drawingml/2006/main">
          <a:r>
            <a:rPr lang="es-ES" sz="2400" dirty="0"/>
            <a:t>No se preocupa por los eventos cibernéticos</a:t>
          </a:r>
        </a:p>
        <a:p xmlns:a="http://schemas.openxmlformats.org/drawingml/2006/main">
          <a:endParaRPr lang="en-US" sz="1800" dirty="0"/>
        </a:p>
      </cdr:txBody>
    </cdr:sp>
  </cdr:relSizeAnchor>
  <cdr:relSizeAnchor xmlns:cdr="http://schemas.openxmlformats.org/drawingml/2006/chartDrawing">
    <cdr:from>
      <cdr:x>0.55282</cdr:x>
      <cdr:y>0.10049</cdr:y>
    </cdr:from>
    <cdr:to>
      <cdr:x>0.56729</cdr:x>
      <cdr:y>0.13357</cdr:y>
    </cdr:to>
    <cdr:sp macro="" textlink="">
      <cdr:nvSpPr>
        <cdr:cNvPr id="4" name="Rectangle 3">
          <a:extLst xmlns:a="http://schemas.openxmlformats.org/drawingml/2006/main">
            <a:ext uri="{FF2B5EF4-FFF2-40B4-BE49-F238E27FC236}">
              <a16:creationId xmlns:a16="http://schemas.microsoft.com/office/drawing/2014/main" id="{AEAA885A-0D74-39DA-6640-3175009FF43D}"/>
            </a:ext>
          </a:extLst>
        </cdr:cNvPr>
        <cdr:cNvSpPr/>
      </cdr:nvSpPr>
      <cdr:spPr>
        <a:xfrm xmlns:a="http://schemas.openxmlformats.org/drawingml/2006/main">
          <a:off x="6071973" y="494704"/>
          <a:ext cx="158901" cy="162838"/>
        </a:xfrm>
        <a:prstGeom xmlns:a="http://schemas.openxmlformats.org/drawingml/2006/main" prst="rect">
          <a:avLst/>
        </a:prstGeom>
        <a:solidFill xmlns:a="http://schemas.openxmlformats.org/drawingml/2006/main">
          <a:schemeClr val="bg2"/>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highlight>
              <a:srgbClr val="FFFF00"/>
            </a:highlight>
          </a:endParaRPr>
        </a:p>
      </cdr:txBody>
    </cdr:sp>
  </cdr:relSizeAnchor>
  <cdr:relSizeAnchor xmlns:cdr="http://schemas.openxmlformats.org/drawingml/2006/chartDrawing">
    <cdr:from>
      <cdr:x>0.55426</cdr:x>
      <cdr:y>0.23328</cdr:y>
    </cdr:from>
    <cdr:to>
      <cdr:x>0.56873</cdr:x>
      <cdr:y>0.26636</cdr:y>
    </cdr:to>
    <cdr:sp macro="" textlink="">
      <cdr:nvSpPr>
        <cdr:cNvPr id="5" name="Rectangle 4">
          <a:extLst xmlns:a="http://schemas.openxmlformats.org/drawingml/2006/main">
            <a:ext uri="{FF2B5EF4-FFF2-40B4-BE49-F238E27FC236}">
              <a16:creationId xmlns:a16="http://schemas.microsoft.com/office/drawing/2014/main" id="{5383BCF1-95D7-7C52-2C44-F8D2699F2349}"/>
            </a:ext>
          </a:extLst>
        </cdr:cNvPr>
        <cdr:cNvSpPr/>
      </cdr:nvSpPr>
      <cdr:spPr>
        <a:xfrm xmlns:a="http://schemas.openxmlformats.org/drawingml/2006/main">
          <a:off x="6087752" y="1148370"/>
          <a:ext cx="158901" cy="162838"/>
        </a:xfrm>
        <a:prstGeom xmlns:a="http://schemas.openxmlformats.org/drawingml/2006/main" prst="rect">
          <a:avLst/>
        </a:prstGeom>
        <a:solidFill xmlns:a="http://schemas.openxmlformats.org/drawingml/2006/main">
          <a:schemeClr val="accent3"/>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5533</cdr:x>
      <cdr:y>0.43414</cdr:y>
    </cdr:from>
    <cdr:to>
      <cdr:x>0.56979</cdr:x>
      <cdr:y>0.46722</cdr:y>
    </cdr:to>
    <cdr:sp macro="" textlink="">
      <cdr:nvSpPr>
        <cdr:cNvPr id="6" name="Rectangle 5">
          <a:extLst xmlns:a="http://schemas.openxmlformats.org/drawingml/2006/main">
            <a:ext uri="{FF2B5EF4-FFF2-40B4-BE49-F238E27FC236}">
              <a16:creationId xmlns:a16="http://schemas.microsoft.com/office/drawing/2014/main" id="{5383BCF1-95D7-7C52-2C44-F8D2699F2349}"/>
            </a:ext>
          </a:extLst>
        </cdr:cNvPr>
        <cdr:cNvSpPr/>
      </cdr:nvSpPr>
      <cdr:spPr>
        <a:xfrm xmlns:a="http://schemas.openxmlformats.org/drawingml/2006/main">
          <a:off x="6099489" y="2137161"/>
          <a:ext cx="158900" cy="162838"/>
        </a:xfrm>
        <a:prstGeom xmlns:a="http://schemas.openxmlformats.org/drawingml/2006/main" prst="rect">
          <a:avLst/>
        </a:prstGeom>
        <a:solidFill xmlns:a="http://schemas.openxmlformats.org/drawingml/2006/main">
          <a:srgbClr val="92D050"/>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6144</cdr:x>
      <cdr:y>0.63998</cdr:y>
    </cdr:from>
    <cdr:to>
      <cdr:x>0.57591</cdr:x>
      <cdr:y>0.67306</cdr:y>
    </cdr:to>
    <cdr:sp macro="" textlink="">
      <cdr:nvSpPr>
        <cdr:cNvPr id="7" name="Rectangle 6">
          <a:extLst xmlns:a="http://schemas.openxmlformats.org/drawingml/2006/main">
            <a:ext uri="{FF2B5EF4-FFF2-40B4-BE49-F238E27FC236}">
              <a16:creationId xmlns:a16="http://schemas.microsoft.com/office/drawing/2014/main" id="{5383BCF1-95D7-7C52-2C44-F8D2699F2349}"/>
            </a:ext>
          </a:extLst>
        </cdr:cNvPr>
        <cdr:cNvSpPr/>
      </cdr:nvSpPr>
      <cdr:spPr>
        <a:xfrm xmlns:a="http://schemas.openxmlformats.org/drawingml/2006/main">
          <a:off x="6166669" y="3150468"/>
          <a:ext cx="158901" cy="162838"/>
        </a:xfrm>
        <a:prstGeom xmlns:a="http://schemas.openxmlformats.org/drawingml/2006/main" prst="rect">
          <a:avLst/>
        </a:prstGeom>
        <a:solidFill xmlns:a="http://schemas.openxmlformats.org/drawingml/2006/main">
          <a:schemeClr val="bg1">
            <a:lumMod val="65000"/>
          </a:schemeClr>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6242</cdr:x>
      <cdr:y>0.77565</cdr:y>
    </cdr:from>
    <cdr:to>
      <cdr:x>0.57689</cdr:x>
      <cdr:y>0.80873</cdr:y>
    </cdr:to>
    <cdr:sp macro="" textlink="">
      <cdr:nvSpPr>
        <cdr:cNvPr id="8" name="Rectangle 7">
          <a:extLst xmlns:a="http://schemas.openxmlformats.org/drawingml/2006/main">
            <a:ext uri="{FF2B5EF4-FFF2-40B4-BE49-F238E27FC236}">
              <a16:creationId xmlns:a16="http://schemas.microsoft.com/office/drawing/2014/main" id="{5383BCF1-95D7-7C52-2C44-F8D2699F2349}"/>
            </a:ext>
          </a:extLst>
        </cdr:cNvPr>
        <cdr:cNvSpPr/>
      </cdr:nvSpPr>
      <cdr:spPr>
        <a:xfrm xmlns:a="http://schemas.openxmlformats.org/drawingml/2006/main">
          <a:off x="6177427" y="3818333"/>
          <a:ext cx="158901" cy="162838"/>
        </a:xfrm>
        <a:prstGeom xmlns:a="http://schemas.openxmlformats.org/drawingml/2006/main" prst="rect">
          <a:avLst/>
        </a:prstGeom>
        <a:solidFill xmlns:a="http://schemas.openxmlformats.org/drawingml/2006/main">
          <a:srgbClr val="FF0000"/>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634</cdr:x>
      <cdr:y>0.84693</cdr:y>
    </cdr:from>
    <cdr:to>
      <cdr:x>0.57787</cdr:x>
      <cdr:y>0.88001</cdr:y>
    </cdr:to>
    <cdr:sp macro="" textlink="">
      <cdr:nvSpPr>
        <cdr:cNvPr id="9" name="Rectangle 8">
          <a:extLst xmlns:a="http://schemas.openxmlformats.org/drawingml/2006/main">
            <a:ext uri="{FF2B5EF4-FFF2-40B4-BE49-F238E27FC236}">
              <a16:creationId xmlns:a16="http://schemas.microsoft.com/office/drawing/2014/main" id="{5383BCF1-95D7-7C52-2C44-F8D2699F2349}"/>
            </a:ext>
          </a:extLst>
        </cdr:cNvPr>
        <cdr:cNvSpPr/>
      </cdr:nvSpPr>
      <cdr:spPr>
        <a:xfrm xmlns:a="http://schemas.openxmlformats.org/drawingml/2006/main">
          <a:off x="6188184" y="4169210"/>
          <a:ext cx="158901" cy="162838"/>
        </a:xfrm>
        <a:prstGeom xmlns:a="http://schemas.openxmlformats.org/drawingml/2006/main" prst="rect">
          <a:avLst/>
        </a:prstGeom>
        <a:solidFill xmlns:a="http://schemas.openxmlformats.org/drawingml/2006/main">
          <a:srgbClr val="006479"/>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5356</cdr:x>
      <cdr:y>0.03213</cdr:y>
    </cdr:from>
    <cdr:to>
      <cdr:x>0.56803</cdr:x>
      <cdr:y>0.06521</cdr:y>
    </cdr:to>
    <cdr:sp macro="" textlink="">
      <cdr:nvSpPr>
        <cdr:cNvPr id="10" name="Rectangle 9">
          <a:extLst xmlns:a="http://schemas.openxmlformats.org/drawingml/2006/main">
            <a:ext uri="{FF2B5EF4-FFF2-40B4-BE49-F238E27FC236}">
              <a16:creationId xmlns:a16="http://schemas.microsoft.com/office/drawing/2014/main" id="{5383BCF1-95D7-7C52-2C44-F8D2699F2349}"/>
            </a:ext>
          </a:extLst>
        </cdr:cNvPr>
        <cdr:cNvSpPr/>
      </cdr:nvSpPr>
      <cdr:spPr>
        <a:xfrm xmlns:a="http://schemas.openxmlformats.org/drawingml/2006/main">
          <a:off x="6080120" y="158167"/>
          <a:ext cx="158901" cy="162838"/>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cdr:x>
      <cdr:y>0.8617</cdr:y>
    </cdr:from>
    <cdr:to>
      <cdr:x>0.2035</cdr:x>
      <cdr:y>0.99299</cdr:y>
    </cdr:to>
    <cdr:sp macro="" textlink="">
      <cdr:nvSpPr>
        <cdr:cNvPr id="11" name="TextBox 12">
          <a:extLst xmlns:a="http://schemas.openxmlformats.org/drawingml/2006/main">
            <a:ext uri="{FF2B5EF4-FFF2-40B4-BE49-F238E27FC236}">
              <a16:creationId xmlns:a16="http://schemas.microsoft.com/office/drawing/2014/main" id="{6595FD3C-81C5-DA4E-858F-A89CCF9B330B}"/>
            </a:ext>
          </a:extLst>
        </cdr:cNvPr>
        <cdr:cNvSpPr txBox="1"/>
      </cdr:nvSpPr>
      <cdr:spPr>
        <a:xfrm xmlns:a="http://schemas.openxmlformats.org/drawingml/2006/main">
          <a:off x="0" y="4241900"/>
          <a:ext cx="2185737" cy="64633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Source: TransUnion commissioned survey of 3,000 consumers, Feb. 2022</a:t>
          </a:r>
        </a:p>
      </cdr:txBody>
    </cdr:sp>
  </cdr:relSizeAnchor>
</c:userShapes>
</file>

<file path=ppt/drawings/drawing2.xml><?xml version="1.0" encoding="utf-8"?>
<c:userShapes xmlns:c="http://schemas.openxmlformats.org/drawingml/2006/chart">
  <cdr:relSizeAnchor xmlns:cdr="http://schemas.openxmlformats.org/drawingml/2006/chartDrawing">
    <cdr:from>
      <cdr:x>0.50986</cdr:x>
      <cdr:y>0.08613</cdr:y>
    </cdr:from>
    <cdr:to>
      <cdr:x>0.93458</cdr:x>
      <cdr:y>0.83179</cdr:y>
    </cdr:to>
    <cdr:sp macro="" textlink="">
      <cdr:nvSpPr>
        <cdr:cNvPr id="2" name="TextBox 1">
          <a:extLst xmlns:a="http://schemas.openxmlformats.org/drawingml/2006/main">
            <a:ext uri="{FF2B5EF4-FFF2-40B4-BE49-F238E27FC236}">
              <a16:creationId xmlns:a16="http://schemas.microsoft.com/office/drawing/2014/main" id="{378F4512-F67E-8BDF-94D5-BBB9D5332F50}"/>
            </a:ext>
          </a:extLst>
        </cdr:cNvPr>
        <cdr:cNvSpPr txBox="1"/>
      </cdr:nvSpPr>
      <cdr:spPr>
        <a:xfrm xmlns:a="http://schemas.openxmlformats.org/drawingml/2006/main">
          <a:off x="5502625" y="357709"/>
          <a:ext cx="4583667" cy="309693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ES" sz="2400" dirty="0"/>
            <a:t>Mi empresa de Seguros </a:t>
          </a:r>
        </a:p>
        <a:p xmlns:a="http://schemas.openxmlformats.org/drawingml/2006/main">
          <a:pPr marL="342900" indent="-342900">
            <a:buFontTx/>
            <a:buChar char="-"/>
          </a:pPr>
          <a:endParaRPr lang="es-ES" sz="2400" dirty="0"/>
        </a:p>
        <a:p xmlns:a="http://schemas.openxmlformats.org/drawingml/2006/main">
          <a:r>
            <a:rPr lang="es-ES" sz="2400" dirty="0"/>
            <a:t>Mi Banco</a:t>
          </a:r>
        </a:p>
        <a:p xmlns:a="http://schemas.openxmlformats.org/drawingml/2006/main">
          <a:pPr marL="342900" indent="-342900">
            <a:buFontTx/>
            <a:buChar char="-"/>
          </a:pPr>
          <a:endParaRPr lang="es-ES" sz="2400" dirty="0"/>
        </a:p>
        <a:p xmlns:a="http://schemas.openxmlformats.org/drawingml/2006/main">
          <a:r>
            <a:rPr lang="es-ES" sz="2400" dirty="0"/>
            <a:t>Mi empleador </a:t>
          </a:r>
        </a:p>
        <a:p xmlns:a="http://schemas.openxmlformats.org/drawingml/2006/main">
          <a:pPr marL="342900" indent="-342900">
            <a:buFontTx/>
            <a:buChar char="-"/>
          </a:pPr>
          <a:endParaRPr lang="es-ES" sz="2400" dirty="0"/>
        </a:p>
        <a:p xmlns:a="http://schemas.openxmlformats.org/drawingml/2006/main">
          <a:r>
            <a:rPr lang="es-ES" sz="2400" dirty="0"/>
            <a:t>No sé a dónde ir para comprar una solución cibernética</a:t>
          </a:r>
        </a:p>
        <a:p xmlns:a="http://schemas.openxmlformats.org/drawingml/2006/main">
          <a:r>
            <a:rPr lang="en-US" sz="1100" dirty="0"/>
            <a:t>   </a:t>
          </a:r>
        </a:p>
      </cdr:txBody>
    </cdr:sp>
  </cdr:relSizeAnchor>
  <cdr:relSizeAnchor xmlns:cdr="http://schemas.openxmlformats.org/drawingml/2006/chartDrawing">
    <cdr:from>
      <cdr:x>0.50948</cdr:x>
      <cdr:y>0.19758</cdr:y>
    </cdr:from>
    <cdr:to>
      <cdr:x>0.94366</cdr:x>
      <cdr:y>0.8592</cdr:y>
    </cdr:to>
    <cdr:sp macro="" textlink="">
      <cdr:nvSpPr>
        <cdr:cNvPr id="3" name="TextBox 2">
          <a:extLst xmlns:a="http://schemas.openxmlformats.org/drawingml/2006/main">
            <a:ext uri="{FF2B5EF4-FFF2-40B4-BE49-F238E27FC236}">
              <a16:creationId xmlns:a16="http://schemas.microsoft.com/office/drawing/2014/main" id="{F5BE723F-ED21-7A1C-2ED4-0B542603F204}"/>
            </a:ext>
          </a:extLst>
        </cdr:cNvPr>
        <cdr:cNvSpPr txBox="1"/>
      </cdr:nvSpPr>
      <cdr:spPr>
        <a:xfrm xmlns:a="http://schemas.openxmlformats.org/drawingml/2006/main">
          <a:off x="5498434" y="820592"/>
          <a:ext cx="4685804" cy="27479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7342</cdr:x>
      <cdr:y>0.12613</cdr:y>
    </cdr:from>
    <cdr:to>
      <cdr:x>0.48528</cdr:x>
      <cdr:y>0.16239</cdr:y>
    </cdr:to>
    <cdr:sp macro="" textlink="">
      <cdr:nvSpPr>
        <cdr:cNvPr id="4" name="Rectangle 3">
          <a:extLst xmlns:a="http://schemas.openxmlformats.org/drawingml/2006/main">
            <a:ext uri="{FF2B5EF4-FFF2-40B4-BE49-F238E27FC236}">
              <a16:creationId xmlns:a16="http://schemas.microsoft.com/office/drawing/2014/main" id="{51C27756-6C7C-3D8E-50DE-12DE16CAE1E1}"/>
            </a:ext>
          </a:extLst>
        </cdr:cNvPr>
        <cdr:cNvSpPr/>
      </cdr:nvSpPr>
      <cdr:spPr>
        <a:xfrm xmlns:a="http://schemas.openxmlformats.org/drawingml/2006/main">
          <a:off x="5109293" y="523855"/>
          <a:ext cx="128049" cy="150607"/>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7342</cdr:x>
      <cdr:y>0.31456</cdr:y>
    </cdr:from>
    <cdr:to>
      <cdr:x>0.48718</cdr:x>
      <cdr:y>0.36183</cdr:y>
    </cdr:to>
    <cdr:sp macro="" textlink="">
      <cdr:nvSpPr>
        <cdr:cNvPr id="5" name="Rectangle 4">
          <a:extLst xmlns:a="http://schemas.openxmlformats.org/drawingml/2006/main">
            <a:ext uri="{FF2B5EF4-FFF2-40B4-BE49-F238E27FC236}">
              <a16:creationId xmlns:a16="http://schemas.microsoft.com/office/drawing/2014/main" id="{78741023-C309-4367-9E66-811F456986D2}"/>
            </a:ext>
          </a:extLst>
        </cdr:cNvPr>
        <cdr:cNvSpPr/>
      </cdr:nvSpPr>
      <cdr:spPr>
        <a:xfrm xmlns:a="http://schemas.openxmlformats.org/drawingml/2006/main">
          <a:off x="5109293" y="1306473"/>
          <a:ext cx="148521" cy="196327"/>
        </a:xfrm>
        <a:prstGeom xmlns:a="http://schemas.openxmlformats.org/drawingml/2006/main" prst="rect">
          <a:avLst/>
        </a:prstGeom>
        <a:solidFill xmlns:a="http://schemas.openxmlformats.org/drawingml/2006/main">
          <a:schemeClr val="bg2">
            <a:lumMod val="60000"/>
            <a:lumOff val="40000"/>
          </a:schemeClr>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47731</cdr:x>
      <cdr:y>0.48551</cdr:y>
    </cdr:from>
    <cdr:to>
      <cdr:x>0.48917</cdr:x>
      <cdr:y>0.52177</cdr:y>
    </cdr:to>
    <cdr:sp macro="" textlink="">
      <cdr:nvSpPr>
        <cdr:cNvPr id="6" name="Rectangle 5">
          <a:extLst xmlns:a="http://schemas.openxmlformats.org/drawingml/2006/main">
            <a:ext uri="{FF2B5EF4-FFF2-40B4-BE49-F238E27FC236}">
              <a16:creationId xmlns:a16="http://schemas.microsoft.com/office/drawing/2014/main" id="{78741023-C309-4367-9E66-811F456986D2}"/>
            </a:ext>
          </a:extLst>
        </cdr:cNvPr>
        <cdr:cNvSpPr/>
      </cdr:nvSpPr>
      <cdr:spPr>
        <a:xfrm xmlns:a="http://schemas.openxmlformats.org/drawingml/2006/main">
          <a:off x="5151280" y="2016467"/>
          <a:ext cx="128049" cy="150607"/>
        </a:xfrm>
        <a:prstGeom xmlns:a="http://schemas.openxmlformats.org/drawingml/2006/main" prst="rect">
          <a:avLst/>
        </a:prstGeom>
        <a:solidFill xmlns:a="http://schemas.openxmlformats.org/drawingml/2006/main">
          <a:srgbClr val="F17123"/>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47935</cdr:x>
      <cdr:y>0.65639</cdr:y>
    </cdr:from>
    <cdr:to>
      <cdr:x>0.49122</cdr:x>
      <cdr:y>0.69266</cdr:y>
    </cdr:to>
    <cdr:sp macro="" textlink="">
      <cdr:nvSpPr>
        <cdr:cNvPr id="7" name="Rectangle 6">
          <a:extLst xmlns:a="http://schemas.openxmlformats.org/drawingml/2006/main">
            <a:ext uri="{FF2B5EF4-FFF2-40B4-BE49-F238E27FC236}">
              <a16:creationId xmlns:a16="http://schemas.microsoft.com/office/drawing/2014/main" id="{78741023-C309-4367-9E66-811F456986D2}"/>
            </a:ext>
          </a:extLst>
        </cdr:cNvPr>
        <cdr:cNvSpPr/>
      </cdr:nvSpPr>
      <cdr:spPr>
        <a:xfrm xmlns:a="http://schemas.openxmlformats.org/drawingml/2006/main">
          <a:off x="5173317" y="2726185"/>
          <a:ext cx="128049" cy="150607"/>
        </a:xfrm>
        <a:prstGeom xmlns:a="http://schemas.openxmlformats.org/drawingml/2006/main" prst="rect">
          <a:avLst/>
        </a:prstGeom>
        <a:solidFill xmlns:a="http://schemas.openxmlformats.org/drawingml/2006/main">
          <a:srgbClr val="92D050"/>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55893</cdr:x>
      <cdr:y>0.02441</cdr:y>
    </cdr:from>
    <cdr:to>
      <cdr:x>0.92471</cdr:x>
      <cdr:y>0.94293</cdr:y>
    </cdr:to>
    <cdr:sp macro="" textlink="">
      <cdr:nvSpPr>
        <cdr:cNvPr id="2" name="TextBox 1">
          <a:extLst xmlns:a="http://schemas.openxmlformats.org/drawingml/2006/main">
            <a:ext uri="{FF2B5EF4-FFF2-40B4-BE49-F238E27FC236}">
              <a16:creationId xmlns:a16="http://schemas.microsoft.com/office/drawing/2014/main" id="{F5C60198-8ED9-504F-1F62-1129BF2DDAFD}"/>
            </a:ext>
          </a:extLst>
        </cdr:cNvPr>
        <cdr:cNvSpPr txBox="1"/>
      </cdr:nvSpPr>
      <cdr:spPr>
        <a:xfrm xmlns:a="http://schemas.openxmlformats.org/drawingml/2006/main">
          <a:off x="6493086" y="100938"/>
          <a:ext cx="4249270" cy="37974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006</cdr:x>
      <cdr:y>0.11028</cdr:y>
    </cdr:from>
    <cdr:to>
      <cdr:x>0.87934</cdr:x>
      <cdr:y>0.33145</cdr:y>
    </cdr:to>
    <cdr:sp macro="" textlink="">
      <cdr:nvSpPr>
        <cdr:cNvPr id="3" name="TextBox 2">
          <a:extLst xmlns:a="http://schemas.openxmlformats.org/drawingml/2006/main">
            <a:ext uri="{FF2B5EF4-FFF2-40B4-BE49-F238E27FC236}">
              <a16:creationId xmlns:a16="http://schemas.microsoft.com/office/drawing/2014/main" id="{E5E39A00-7886-FE71-214C-8B114EAFDB3A}"/>
            </a:ext>
          </a:extLst>
        </cdr:cNvPr>
        <cdr:cNvSpPr txBox="1"/>
      </cdr:nvSpPr>
      <cdr:spPr>
        <a:xfrm xmlns:a="http://schemas.openxmlformats.org/drawingml/2006/main">
          <a:off x="6977180" y="455939"/>
          <a:ext cx="3238052"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8949</cdr:x>
      <cdr:y>0.19094</cdr:y>
    </cdr:from>
    <cdr:to>
      <cdr:x>0.80896</cdr:x>
      <cdr:y>0.85186</cdr:y>
    </cdr:to>
    <cdr:sp macro="" textlink="">
      <cdr:nvSpPr>
        <cdr:cNvPr id="4" name="TextBox 3">
          <a:extLst xmlns:a="http://schemas.openxmlformats.org/drawingml/2006/main">
            <a:ext uri="{FF2B5EF4-FFF2-40B4-BE49-F238E27FC236}">
              <a16:creationId xmlns:a16="http://schemas.microsoft.com/office/drawing/2014/main" id="{1BFE7157-F580-8A79-69C7-F2DF96134829}"/>
            </a:ext>
          </a:extLst>
        </cdr:cNvPr>
        <cdr:cNvSpPr txBox="1"/>
      </cdr:nvSpPr>
      <cdr:spPr>
        <a:xfrm xmlns:a="http://schemas.openxmlformats.org/drawingml/2006/main">
          <a:off x="6848088" y="789426"/>
          <a:ext cx="2549562" cy="27324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5271</cdr:x>
      <cdr:y>0</cdr:y>
    </cdr:from>
    <cdr:to>
      <cdr:x>1</cdr:x>
      <cdr:y>1</cdr:y>
    </cdr:to>
    <cdr:sp macro="" textlink="">
      <cdr:nvSpPr>
        <cdr:cNvPr id="5" name="TextBox 4">
          <a:extLst xmlns:a="http://schemas.openxmlformats.org/drawingml/2006/main">
            <a:ext uri="{FF2B5EF4-FFF2-40B4-BE49-F238E27FC236}">
              <a16:creationId xmlns:a16="http://schemas.microsoft.com/office/drawing/2014/main" id="{B5942158-F339-2736-7DA8-3A8AB997959A}"/>
            </a:ext>
          </a:extLst>
        </cdr:cNvPr>
        <cdr:cNvSpPr txBox="1"/>
      </cdr:nvSpPr>
      <cdr:spPr>
        <a:xfrm xmlns:a="http://schemas.openxmlformats.org/drawingml/2006/main">
          <a:off x="6420874" y="0"/>
          <a:ext cx="5196107" cy="413433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ES" sz="2400" b="1" dirty="0"/>
            <a:t>Soporte en vivo con expertos en Ciber Seguridad</a:t>
          </a:r>
        </a:p>
        <a:p xmlns:a="http://schemas.openxmlformats.org/drawingml/2006/main">
          <a:r>
            <a:rPr lang="es-ES" sz="2400" dirty="0"/>
            <a:t>Seguros Ciber </a:t>
          </a:r>
        </a:p>
        <a:p xmlns:a="http://schemas.openxmlformats.org/drawingml/2006/main">
          <a:r>
            <a:rPr lang="es-ES" sz="2400" dirty="0"/>
            <a:t>Monitoreo de identidad en la web oscura</a:t>
          </a:r>
        </a:p>
        <a:p xmlns:a="http://schemas.openxmlformats.org/drawingml/2006/main">
          <a:r>
            <a:rPr lang="es-ES" sz="2400" dirty="0"/>
            <a:t>Educación cibernética, consejos e información de orientación </a:t>
          </a:r>
        </a:p>
        <a:p xmlns:a="http://schemas.openxmlformats.org/drawingml/2006/main">
          <a:r>
            <a:rPr lang="es-ES" sz="2400" dirty="0"/>
            <a:t>Otro</a:t>
          </a:r>
        </a:p>
        <a:p xmlns:a="http://schemas.openxmlformats.org/drawingml/2006/main">
          <a:r>
            <a:rPr lang="en-US" sz="1800" dirty="0"/>
            <a:t> </a:t>
          </a:r>
        </a:p>
      </cdr:txBody>
    </cdr:sp>
  </cdr:relSizeAnchor>
  <cdr:relSizeAnchor xmlns:cdr="http://schemas.openxmlformats.org/drawingml/2006/chartDrawing">
    <cdr:from>
      <cdr:x>0.53234</cdr:x>
      <cdr:y>0.03666</cdr:y>
    </cdr:from>
    <cdr:to>
      <cdr:x>0.54438</cdr:x>
      <cdr:y>0.07049</cdr:y>
    </cdr:to>
    <cdr:sp macro="" textlink="">
      <cdr:nvSpPr>
        <cdr:cNvPr id="6" name="Rectangle 5">
          <a:extLst xmlns:a="http://schemas.openxmlformats.org/drawingml/2006/main">
            <a:ext uri="{FF2B5EF4-FFF2-40B4-BE49-F238E27FC236}">
              <a16:creationId xmlns:a16="http://schemas.microsoft.com/office/drawing/2014/main" id="{3CC51C5D-2EC9-CF95-FECD-3E9B47CB5F73}"/>
            </a:ext>
          </a:extLst>
        </cdr:cNvPr>
        <cdr:cNvSpPr/>
      </cdr:nvSpPr>
      <cdr:spPr>
        <a:xfrm xmlns:a="http://schemas.openxmlformats.org/drawingml/2006/main">
          <a:off x="6184206" y="151581"/>
          <a:ext cx="139850" cy="139849"/>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3208</cdr:x>
      <cdr:y>0.22017</cdr:y>
    </cdr:from>
    <cdr:to>
      <cdr:x>0.54412</cdr:x>
      <cdr:y>0.25399</cdr:y>
    </cdr:to>
    <cdr:sp macro="" textlink="">
      <cdr:nvSpPr>
        <cdr:cNvPr id="7" name="Rectangle 6">
          <a:extLst xmlns:a="http://schemas.openxmlformats.org/drawingml/2006/main">
            <a:ext uri="{FF2B5EF4-FFF2-40B4-BE49-F238E27FC236}">
              <a16:creationId xmlns:a16="http://schemas.microsoft.com/office/drawing/2014/main" id="{ECB53B4A-B3BD-8AE8-0053-287230DAFC56}"/>
            </a:ext>
          </a:extLst>
        </cdr:cNvPr>
        <cdr:cNvSpPr/>
      </cdr:nvSpPr>
      <cdr:spPr>
        <a:xfrm xmlns:a="http://schemas.openxmlformats.org/drawingml/2006/main">
          <a:off x="6181218" y="910238"/>
          <a:ext cx="139850" cy="139849"/>
        </a:xfrm>
        <a:prstGeom xmlns:a="http://schemas.openxmlformats.org/drawingml/2006/main" prst="rect">
          <a:avLst/>
        </a:prstGeom>
        <a:solidFill xmlns:a="http://schemas.openxmlformats.org/drawingml/2006/main">
          <a:srgbClr val="FCD800"/>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3116</cdr:x>
      <cdr:y>0.31391</cdr:y>
    </cdr:from>
    <cdr:to>
      <cdr:x>0.5432</cdr:x>
      <cdr:y>0.34774</cdr:y>
    </cdr:to>
    <cdr:sp macro="" textlink="">
      <cdr:nvSpPr>
        <cdr:cNvPr id="8" name="Rectangle 7">
          <a:extLst xmlns:a="http://schemas.openxmlformats.org/drawingml/2006/main">
            <a:ext uri="{FF2B5EF4-FFF2-40B4-BE49-F238E27FC236}">
              <a16:creationId xmlns:a16="http://schemas.microsoft.com/office/drawing/2014/main" id="{ECB53B4A-B3BD-8AE8-0053-287230DAFC56}"/>
            </a:ext>
          </a:extLst>
        </cdr:cNvPr>
        <cdr:cNvSpPr/>
      </cdr:nvSpPr>
      <cdr:spPr>
        <a:xfrm xmlns:a="http://schemas.openxmlformats.org/drawingml/2006/main">
          <a:off x="6170461" y="1297812"/>
          <a:ext cx="139850" cy="139849"/>
        </a:xfrm>
        <a:prstGeom xmlns:a="http://schemas.openxmlformats.org/drawingml/2006/main" prst="rect">
          <a:avLst/>
        </a:prstGeom>
        <a:solidFill xmlns:a="http://schemas.openxmlformats.org/drawingml/2006/main">
          <a:srgbClr val="F17123"/>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3208</cdr:x>
      <cdr:y>0.48309</cdr:y>
    </cdr:from>
    <cdr:to>
      <cdr:x>0.54412</cdr:x>
      <cdr:y>0.51691</cdr:y>
    </cdr:to>
    <cdr:sp macro="" textlink="">
      <cdr:nvSpPr>
        <cdr:cNvPr id="9" name="Rectangle 8">
          <a:extLst xmlns:a="http://schemas.openxmlformats.org/drawingml/2006/main">
            <a:ext uri="{FF2B5EF4-FFF2-40B4-BE49-F238E27FC236}">
              <a16:creationId xmlns:a16="http://schemas.microsoft.com/office/drawing/2014/main" id="{ECB53B4A-B3BD-8AE8-0053-287230DAFC56}"/>
            </a:ext>
          </a:extLst>
        </cdr:cNvPr>
        <cdr:cNvSpPr/>
      </cdr:nvSpPr>
      <cdr:spPr>
        <a:xfrm xmlns:a="http://schemas.openxmlformats.org/drawingml/2006/main">
          <a:off x="6181218" y="1997243"/>
          <a:ext cx="139850" cy="139849"/>
        </a:xfrm>
        <a:prstGeom xmlns:a="http://schemas.openxmlformats.org/drawingml/2006/main" prst="rect">
          <a:avLst/>
        </a:prstGeom>
        <a:solidFill xmlns:a="http://schemas.openxmlformats.org/drawingml/2006/main">
          <a:srgbClr val="A9D16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3553</cdr:x>
      <cdr:y>0.66699</cdr:y>
    </cdr:from>
    <cdr:to>
      <cdr:x>0.54757</cdr:x>
      <cdr:y>0.70082</cdr:y>
    </cdr:to>
    <cdr:sp macro="" textlink="">
      <cdr:nvSpPr>
        <cdr:cNvPr id="10" name="Rectangle 9">
          <a:extLst xmlns:a="http://schemas.openxmlformats.org/drawingml/2006/main">
            <a:ext uri="{FF2B5EF4-FFF2-40B4-BE49-F238E27FC236}">
              <a16:creationId xmlns:a16="http://schemas.microsoft.com/office/drawing/2014/main" id="{740FCA56-D476-098B-3275-9089316B02E6}"/>
            </a:ext>
          </a:extLst>
        </cdr:cNvPr>
        <cdr:cNvSpPr/>
      </cdr:nvSpPr>
      <cdr:spPr>
        <a:xfrm xmlns:a="http://schemas.openxmlformats.org/drawingml/2006/main">
          <a:off x="6221261" y="2757565"/>
          <a:ext cx="139850" cy="139849"/>
        </a:xfrm>
        <a:prstGeom xmlns:a="http://schemas.openxmlformats.org/drawingml/2006/main" prst="rect">
          <a:avLst/>
        </a:prstGeom>
        <a:solidFill xmlns:a="http://schemas.openxmlformats.org/drawingml/2006/main">
          <a:srgbClr val="A5A5A5"/>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C16ABC-9B42-4AA3-A1B4-36EEB9BD40C5}" type="datetimeFigureOut">
              <a:rPr lang="en-US" smtClean="0"/>
              <a:t>8/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4509B5-D2D2-4002-BFA7-69A3BECABAA9}" type="slidenum">
              <a:rPr lang="en-US" smtClean="0"/>
              <a:t>‹#›</a:t>
            </a:fld>
            <a:endParaRPr lang="en-US"/>
          </a:p>
        </p:txBody>
      </p:sp>
    </p:spTree>
    <p:extLst>
      <p:ext uri="{BB962C8B-B14F-4D97-AF65-F5344CB8AC3E}">
        <p14:creationId xmlns:p14="http://schemas.microsoft.com/office/powerpoint/2010/main" val="3999781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400" b="1" dirty="0"/>
              <a:t>ELLA</a:t>
            </a:r>
          </a:p>
          <a:p>
            <a:pPr marL="0" indent="0">
              <a:buFont typeface="Arial" panose="020B0604020202020204" pitchFamily="34" charset="0"/>
              <a:buNone/>
            </a:pPr>
            <a:endParaRPr lang="en-US" sz="1400" b="1" dirty="0"/>
          </a:p>
          <a:p>
            <a:pPr marL="285750" indent="-285750">
              <a:buFont typeface="Arial" panose="020B0604020202020204" pitchFamily="34" charset="0"/>
              <a:buChar char="•"/>
            </a:pPr>
            <a:r>
              <a:rPr lang="en-US" sz="1400" b="0" dirty="0"/>
              <a:t>Ella introduces herself</a:t>
            </a:r>
          </a:p>
          <a:p>
            <a:pPr marL="285750" indent="-285750">
              <a:buFont typeface="Arial" panose="020B0604020202020204" pitchFamily="34" charset="0"/>
              <a:buChar char="•"/>
            </a:pPr>
            <a:endParaRPr lang="en-US" sz="1400" b="0" dirty="0"/>
          </a:p>
          <a:p>
            <a:pPr marL="285750" indent="-285750">
              <a:buFont typeface="Arial" panose="020B0604020202020204" pitchFamily="34" charset="0"/>
              <a:buChar char="•"/>
            </a:pPr>
            <a:r>
              <a:rPr lang="en-US" sz="1400" b="0" dirty="0"/>
              <a:t>You may have read about an acquisition TU made back in December of a company called Sontiq. This leader in digital identity protection had a division called Cyberscout that focused on offering identity protection</a:t>
            </a:r>
            <a:r>
              <a:rPr lang="en-US" sz="1400" b="0" baseline="0" dirty="0"/>
              <a:t> and </a:t>
            </a:r>
            <a:r>
              <a:rPr lang="en-US" sz="1400" b="0" dirty="0"/>
              <a:t>cyber services to US</a:t>
            </a:r>
            <a:r>
              <a:rPr lang="en-US" sz="1400" b="0" baseline="0" dirty="0"/>
              <a:t> &amp; Intl </a:t>
            </a:r>
            <a:r>
              <a:rPr lang="en-US" sz="1400" b="0" dirty="0"/>
              <a:t>insurance carriers.</a:t>
            </a:r>
          </a:p>
          <a:p>
            <a:pPr marL="285750" indent="-285750">
              <a:buFont typeface="Arial" panose="020B0604020202020204" pitchFamily="34" charset="0"/>
              <a:buChar char="•"/>
            </a:pPr>
            <a:endParaRPr lang="en-US" sz="1400" b="0" dirty="0"/>
          </a:p>
          <a:p>
            <a:pPr marL="285750" indent="-285750">
              <a:buFont typeface="Arial" panose="020B0604020202020204" pitchFamily="34" charset="0"/>
              <a:buChar char="•"/>
            </a:pPr>
            <a:r>
              <a:rPr lang="en-US" sz="1400" b="0" dirty="0"/>
              <a:t>The Sontiq acquisition fit nicely into our core Vision of making trust possible between consumers and businesses in global commerce AND</a:t>
            </a:r>
          </a:p>
          <a:p>
            <a:pPr marL="285750" indent="-285750">
              <a:buFont typeface="Arial" panose="020B0604020202020204" pitchFamily="34" charset="0"/>
              <a:buChar char="•"/>
            </a:pPr>
            <a:endParaRPr lang="en-US" sz="1400" b="0" dirty="0"/>
          </a:p>
          <a:p>
            <a:pPr marL="285750" indent="-285750">
              <a:buFont typeface="Arial" panose="020B0604020202020204" pitchFamily="34" charset="0"/>
              <a:buChar char="•"/>
            </a:pPr>
            <a:r>
              <a:rPr lang="en-US" sz="1400" b="0" dirty="0"/>
              <a:t>builds on our existing identity capabilities that address key business and consumer challenges rising from the shift to online commerce </a:t>
            </a:r>
          </a:p>
          <a:p>
            <a:pPr marL="285750" indent="-285750">
              <a:buFont typeface="Arial" panose="020B0604020202020204" pitchFamily="34" charset="0"/>
              <a:buChar char="•"/>
            </a:pPr>
            <a:endParaRPr lang="en-US" sz="1400" b="0" dirty="0"/>
          </a:p>
          <a:p>
            <a:pPr marL="285750" indent="-285750">
              <a:buFont typeface="Arial" panose="020B0604020202020204" pitchFamily="34" charset="0"/>
              <a:buChar char="•"/>
            </a:pPr>
            <a:r>
              <a:rPr lang="en-US" sz="1400" b="0" dirty="0"/>
              <a:t>With</a:t>
            </a:r>
            <a:r>
              <a:rPr lang="en-US" sz="1400" b="0" baseline="0" dirty="0"/>
              <a:t> the rise in cyberattacks and identity theft and fraud, Cyber insurance is a growing market and we are happy to be able to add cyber services to our line of solutions designed to support industry needs.</a:t>
            </a:r>
            <a:endParaRPr lang="en-US" sz="1400" b="0" dirty="0"/>
          </a:p>
          <a:p>
            <a:pPr marL="285750" indent="-285750">
              <a:buFont typeface="Arial" panose="020B0604020202020204" pitchFamily="34" charset="0"/>
              <a:buChar char="•"/>
            </a:pPr>
            <a:endParaRPr lang="en-US" sz="1400" b="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Joining </a:t>
            </a:r>
            <a:r>
              <a:rPr lang="en-US" sz="1400" b="0" baseline="0" dirty="0"/>
              <a:t>me onstage today to talk about cyber insurance is Matt Cullina who came to TU through the acquisition. He was the former CEO of Cyberscout, and he brings over 25 years of experience in cyber services, insurance research, development and claims </a:t>
            </a:r>
            <a:r>
              <a:rPr lang="en-US" sz="1400" b="0" baseline="0" dirty="0" err="1"/>
              <a:t>mgt</a:t>
            </a:r>
            <a:r>
              <a:rPr lang="en-US" sz="1400" b="0" baseline="0" dirty="0"/>
              <a:t> to our organization and we are thrilled to have him onboard as our head of Global Cyber Insuran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t>MATT</a:t>
            </a:r>
            <a:r>
              <a:rPr lang="en-US" sz="1400" b="0" baseline="0" dirty="0"/>
              <a:t> says hello to the audience</a:t>
            </a:r>
          </a:p>
        </p:txBody>
      </p:sp>
      <p:sp>
        <p:nvSpPr>
          <p:cNvPr id="4" name="Slide Number Placeholder 3"/>
          <p:cNvSpPr>
            <a:spLocks noGrp="1"/>
          </p:cNvSpPr>
          <p:nvPr>
            <p:ph type="sldNum" sz="quarter" idx="10"/>
          </p:nvPr>
        </p:nvSpPr>
        <p:spPr/>
        <p:txBody>
          <a:bodyPr/>
          <a:lstStyle/>
          <a:p>
            <a:fld id="{F34509B5-D2D2-4002-BFA7-69A3BECABAA9}" type="slidenum">
              <a:rPr lang="en-US" smtClean="0"/>
              <a:t>1</a:t>
            </a:fld>
            <a:endParaRPr lang="en-US"/>
          </a:p>
        </p:txBody>
      </p:sp>
    </p:spTree>
    <p:extLst>
      <p:ext uri="{BB962C8B-B14F-4D97-AF65-F5344CB8AC3E}">
        <p14:creationId xmlns:p14="http://schemas.microsoft.com/office/powerpoint/2010/main" val="4058062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MAT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age re-created</a:t>
            </a:r>
            <a:r>
              <a:rPr lang="en-US" baseline="0" dirty="0"/>
              <a:t> from: </a:t>
            </a:r>
            <a:r>
              <a:rPr lang="en-US" dirty="0"/>
              <a:t>https://insuranceblog.accenture.com/why-cyber-security-ecosystems-are-key-to-success-in-this-fast-emerging-insurance-market?am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4509B5-D2D2-4002-BFA7-69A3BECABA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933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JAMES</a:t>
            </a:r>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85825A4A-E948-4C41-914A-68B9DB5F6DF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4092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T </a:t>
            </a:r>
            <a:r>
              <a:rPr lang="en-US" b="0" dirty="0"/>
              <a:t>responds and covers this slide</a:t>
            </a:r>
          </a:p>
          <a:p>
            <a:endParaRPr lang="en-US" b="0" dirty="0"/>
          </a:p>
          <a:p>
            <a:r>
              <a:rPr lang="en-US" b="1" dirty="0"/>
              <a:t>ELLA</a:t>
            </a:r>
            <a:r>
              <a:rPr lang="en-US" b="0" dirty="0"/>
              <a:t> to read key takeaway</a:t>
            </a:r>
          </a:p>
          <a:p>
            <a:endParaRPr lang="en-US" b="0" dirty="0"/>
          </a:p>
        </p:txBody>
      </p:sp>
      <p:sp>
        <p:nvSpPr>
          <p:cNvPr id="4" name="Slide Number Placeholder 3"/>
          <p:cNvSpPr>
            <a:spLocks noGrp="1"/>
          </p:cNvSpPr>
          <p:nvPr>
            <p:ph type="sldNum" sz="quarter" idx="10"/>
          </p:nvPr>
        </p:nvSpPr>
        <p:spPr/>
        <p:txBody>
          <a:bodyPr/>
          <a:lstStyle/>
          <a:p>
            <a:fld id="{F34509B5-D2D2-4002-BFA7-69A3BECABAA9}" type="slidenum">
              <a:rPr lang="en-US" smtClean="0"/>
              <a:t>20</a:t>
            </a:fld>
            <a:endParaRPr lang="en-US"/>
          </a:p>
        </p:txBody>
      </p:sp>
    </p:spTree>
    <p:extLst>
      <p:ext uri="{BB962C8B-B14F-4D97-AF65-F5344CB8AC3E}">
        <p14:creationId xmlns:p14="http://schemas.microsoft.com/office/powerpoint/2010/main" val="3144326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T </a:t>
            </a:r>
            <a:r>
              <a:rPr lang="en-US" b="0" dirty="0"/>
              <a:t>responds and covers this slide</a:t>
            </a:r>
          </a:p>
          <a:p>
            <a:endParaRPr lang="en-US" b="0" dirty="0"/>
          </a:p>
          <a:p>
            <a:r>
              <a:rPr lang="en-US" b="1" dirty="0"/>
              <a:t>ELLA</a:t>
            </a:r>
            <a:r>
              <a:rPr lang="en-US" b="0" dirty="0"/>
              <a:t> to read key takeaway</a:t>
            </a:r>
          </a:p>
          <a:p>
            <a:endParaRPr lang="en-US" b="0" dirty="0"/>
          </a:p>
          <a:p>
            <a:endParaRPr lang="en-US" b="0" dirty="0"/>
          </a:p>
          <a:p>
            <a:endParaRPr lang="en-US" b="0" dirty="0"/>
          </a:p>
          <a:p>
            <a:endParaRPr lang="en-US" b="0" dirty="0"/>
          </a:p>
          <a:p>
            <a:endParaRPr lang="en-US" b="0" dirty="0"/>
          </a:p>
          <a:p>
            <a:endParaRPr lang="en-US" b="0" dirty="0"/>
          </a:p>
          <a:p>
            <a:pPr marL="742950" marR="0" lvl="1" indent="-285750">
              <a:spcBef>
                <a:spcPts val="0"/>
              </a:spcBef>
              <a:spcAft>
                <a:spcPts val="0"/>
              </a:spcAft>
              <a:buFont typeface="Courier New" panose="02070309020205020404" pitchFamily="49" charset="0"/>
              <a:buChar char="o"/>
            </a:pPr>
            <a:r>
              <a:rPr lang="en-US" sz="1100" dirty="0">
                <a:solidFill>
                  <a:srgbClr val="1F497D"/>
                </a:solidFill>
                <a:latin typeface="Calibri" panose="020F0502020204030204" pitchFamily="34" charset="0"/>
                <a:ea typeface="Times New Roman" panose="02020603050405020304" pitchFamily="18" charset="0"/>
              </a:rPr>
              <a:t>Revenue – increase average premium with risk free reinsured cyber endorsements. Average Home or BOP Premium is around $1300. With Cyber offerings $1350-75 for base cyber coverage.  For commercial lines launches can offer base cyber offering as an opt out coverage so book </a:t>
            </a:r>
            <a:r>
              <a:rPr lang="en-US" sz="1100" dirty="0" err="1">
                <a:solidFill>
                  <a:srgbClr val="1F497D"/>
                </a:solidFill>
                <a:latin typeface="Calibri" panose="020F0502020204030204" pitchFamily="34" charset="0"/>
                <a:ea typeface="Times New Roman" panose="02020603050405020304" pitchFamily="18" charset="0"/>
              </a:rPr>
              <a:t>penentration</a:t>
            </a:r>
            <a:r>
              <a:rPr lang="en-US" sz="1100" dirty="0">
                <a:solidFill>
                  <a:srgbClr val="1F497D"/>
                </a:solidFill>
                <a:latin typeface="Calibri" panose="020F0502020204030204" pitchFamily="34" charset="0"/>
                <a:ea typeface="Times New Roman" panose="02020603050405020304" pitchFamily="18" charset="0"/>
              </a:rPr>
              <a:t> rates are over 75%. For personal lines opt out options are not allowed so opt in go to market is the norm.  Cyber is a very popular endorsement offer with book penetration rates at +15% with many insurers experiencing +25% penetration. Also always potential to cross sell higher limit/bundle offerings that would increase average premium even further.  </a:t>
            </a:r>
            <a:endParaRPr lang="en-US" sz="10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dirty="0">
                <a:solidFill>
                  <a:srgbClr val="1F497D"/>
                </a:solidFill>
                <a:latin typeface="Calibri" panose="020F0502020204030204" pitchFamily="34" charset="0"/>
                <a:ea typeface="Times New Roman" panose="02020603050405020304" pitchFamily="18" charset="0"/>
              </a:rPr>
              <a:t>Retention (Is there an ROI stat that’s been used in the past?) – This is more anecdotal as certain insurers have done side by side retention studies and found that those that had cyber in place had a few point lift in retention vs. those that did not have coverage (88% average home insurance book retention increased to 90%.</a:t>
            </a:r>
            <a:endParaRPr lang="en-US" sz="1000" dirty="0">
              <a:latin typeface="Calibri" panose="020F0502020204030204" pitchFamily="34" charset="0"/>
              <a:ea typeface="Calibri" panose="020F0502020204030204" pitchFamily="34" charset="0"/>
            </a:endParaRPr>
          </a:p>
          <a:p>
            <a:r>
              <a:rPr lang="en-US" sz="1100" dirty="0">
                <a:solidFill>
                  <a:srgbClr val="1F497D"/>
                </a:solidFill>
                <a:latin typeface="Calibri" panose="020F0502020204030204" pitchFamily="34" charset="0"/>
                <a:ea typeface="Times New Roman" panose="02020603050405020304" pitchFamily="18" charset="0"/>
              </a:rPr>
              <a:t>Relevancy: like other leading edge new product intros insurers can secure first mover/early adoptee status if they incorporate cyber for lift as product differentiator.  The longer they wait the more it becomes a negative differentiator that they don’t have it.  Also Cyber Tips/Advice can become a core part of digital education strategy with the cyber offering as a back stop.  </a:t>
            </a:r>
            <a:endParaRPr lang="en-US" dirty="0"/>
          </a:p>
          <a:p>
            <a:endParaRPr lang="en-US" b="0" dirty="0"/>
          </a:p>
        </p:txBody>
      </p:sp>
      <p:sp>
        <p:nvSpPr>
          <p:cNvPr id="4" name="Slide Number Placeholder 3"/>
          <p:cNvSpPr>
            <a:spLocks noGrp="1"/>
          </p:cNvSpPr>
          <p:nvPr>
            <p:ph type="sldNum" sz="quarter" idx="10"/>
          </p:nvPr>
        </p:nvSpPr>
        <p:spPr/>
        <p:txBody>
          <a:bodyPr/>
          <a:lstStyle/>
          <a:p>
            <a:fld id="{F34509B5-D2D2-4002-BFA7-69A3BECABAA9}" type="slidenum">
              <a:rPr lang="en-US" smtClean="0"/>
              <a:t>21</a:t>
            </a:fld>
            <a:endParaRPr lang="en-US"/>
          </a:p>
        </p:txBody>
      </p:sp>
    </p:spTree>
    <p:extLst>
      <p:ext uri="{BB962C8B-B14F-4D97-AF65-F5344CB8AC3E}">
        <p14:creationId xmlns:p14="http://schemas.microsoft.com/office/powerpoint/2010/main" val="11961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T</a:t>
            </a:r>
          </a:p>
        </p:txBody>
      </p:sp>
      <p:sp>
        <p:nvSpPr>
          <p:cNvPr id="4" name="Slide Number Placeholder 3"/>
          <p:cNvSpPr>
            <a:spLocks noGrp="1"/>
          </p:cNvSpPr>
          <p:nvPr>
            <p:ph type="sldNum" sz="quarter" idx="10"/>
          </p:nvPr>
        </p:nvSpPr>
        <p:spPr/>
        <p:txBody>
          <a:bodyPr/>
          <a:lstStyle/>
          <a:p>
            <a:fld id="{F34509B5-D2D2-4002-BFA7-69A3BECABAA9}" type="slidenum">
              <a:rPr lang="en-US" smtClean="0"/>
              <a:t>22</a:t>
            </a:fld>
            <a:endParaRPr lang="en-US"/>
          </a:p>
        </p:txBody>
      </p:sp>
    </p:spTree>
    <p:extLst>
      <p:ext uri="{BB962C8B-B14F-4D97-AF65-F5344CB8AC3E}">
        <p14:creationId xmlns:p14="http://schemas.microsoft.com/office/powerpoint/2010/main" val="3390453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4509B5-D2D2-4002-BFA7-69A3BECABAA9}" type="slidenum">
              <a:rPr lang="en-US" smtClean="0"/>
              <a:t>23</a:t>
            </a:fld>
            <a:endParaRPr lang="en-US"/>
          </a:p>
        </p:txBody>
      </p:sp>
    </p:spTree>
    <p:extLst>
      <p:ext uri="{BB962C8B-B14F-4D97-AF65-F5344CB8AC3E}">
        <p14:creationId xmlns:p14="http://schemas.microsoft.com/office/powerpoint/2010/main" val="2538432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T </a:t>
            </a:r>
            <a:r>
              <a:rPr lang="en-US" b="0" dirty="0"/>
              <a:t>(feedback</a:t>
            </a:r>
            <a:r>
              <a:rPr lang="en-US" b="0" baseline="0" dirty="0"/>
              <a:t>: add some real world examples)</a:t>
            </a:r>
          </a:p>
          <a:p>
            <a:endParaRPr lang="en-US" b="0" baseline="0" dirty="0"/>
          </a:p>
          <a:p>
            <a:endParaRPr lang="en-US" b="0" baseline="0" dirty="0"/>
          </a:p>
          <a:p>
            <a:endParaRPr lang="en-US" b="0" baseline="0" dirty="0"/>
          </a:p>
          <a:p>
            <a:endParaRPr lang="en-US" b="0" baseline="0" dirty="0"/>
          </a:p>
          <a:p>
            <a:endParaRPr lang="en-US" b="0" baseline="0" dirty="0"/>
          </a:p>
          <a:p>
            <a:endParaRPr lang="en-US" b="0" baseline="0" dirty="0"/>
          </a:p>
          <a:p>
            <a:endParaRPr lang="en-US" b="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baseline="0" dirty="0"/>
              <a:t>Picture source: TU stock image</a:t>
            </a:r>
            <a:endParaRPr lang="en-US" b="1" dirty="0"/>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techrepublic.com/article/667-spike-in-email-phishing-attacks-due-to-coronavirus-fea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cybersecurityventures.com/cybersecurity-almanac-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forbes.com/sites/chuckbrooks/2021/10/24/more-alarming-cybersecurity-stats-for-2021-/?sh=1789fac4a36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nortonlifelock.com/ca/en/newsroom/press-kits/2021-norton-cyber-safety-insights-report/</a:t>
            </a:r>
          </a:p>
          <a:p>
            <a:r>
              <a:rPr lang="en-US" b="0" dirty="0"/>
              <a:t>https://www.globenewswire.com/news-release/2020/11/19/2130156/0/en/86-of-global-consumers-fall-victim-to-identity-theft-and-fraud-as-online-shopping-increases.html</a:t>
            </a:r>
          </a:p>
          <a:p>
            <a:endParaRPr lang="en-US" b="0" dirty="0"/>
          </a:p>
        </p:txBody>
      </p:sp>
      <p:sp>
        <p:nvSpPr>
          <p:cNvPr id="4" name="Slide Number Placeholder 3"/>
          <p:cNvSpPr>
            <a:spLocks noGrp="1"/>
          </p:cNvSpPr>
          <p:nvPr>
            <p:ph type="sldNum" sz="quarter" idx="10"/>
          </p:nvPr>
        </p:nvSpPr>
        <p:spPr/>
        <p:txBody>
          <a:bodyPr/>
          <a:lstStyle/>
          <a:p>
            <a:fld id="{F34509B5-D2D2-4002-BFA7-69A3BECABAA9}" type="slidenum">
              <a:rPr lang="en-US" smtClean="0"/>
              <a:t>4</a:t>
            </a:fld>
            <a:endParaRPr lang="en-US"/>
          </a:p>
        </p:txBody>
      </p:sp>
    </p:spTree>
    <p:extLst>
      <p:ext uri="{BB962C8B-B14F-4D97-AF65-F5344CB8AC3E}">
        <p14:creationId xmlns:p14="http://schemas.microsoft.com/office/powerpoint/2010/main" val="4143389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4509B5-D2D2-4002-BFA7-69A3BECABAA9}" type="slidenum">
              <a:rPr lang="en-US" smtClean="0"/>
              <a:t>6</a:t>
            </a:fld>
            <a:endParaRPr lang="en-US"/>
          </a:p>
        </p:txBody>
      </p:sp>
    </p:spTree>
    <p:extLst>
      <p:ext uri="{BB962C8B-B14F-4D97-AF65-F5344CB8AC3E}">
        <p14:creationId xmlns:p14="http://schemas.microsoft.com/office/powerpoint/2010/main" val="2940223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T</a:t>
            </a:r>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72608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b="1" dirty="0"/>
              <a:t> </a:t>
            </a:r>
          </a:p>
          <a:p>
            <a:pPr marL="171450" indent="-171450">
              <a:buFont typeface="Arial" panose="020B0604020202020204" pitchFamily="34" charset="0"/>
              <a:buChar char="•"/>
            </a:pPr>
            <a:r>
              <a:rPr lang="en-US" b="0" dirty="0"/>
              <a:t>Today,</a:t>
            </a:r>
            <a:r>
              <a:rPr lang="en-US" b="0" baseline="0" dirty="0"/>
              <a:t> we’ll take a quick look at the technology evolution and the resulting acceleration of digitalization </a:t>
            </a:r>
          </a:p>
          <a:p>
            <a:pPr marL="171450" indent="-171450">
              <a:buFont typeface="Arial" panose="020B0604020202020204" pitchFamily="34" charset="0"/>
              <a:buChar char="•"/>
            </a:pPr>
            <a:r>
              <a:rPr lang="en-US" b="0" baseline="0" dirty="0"/>
              <a:t>Then we’ll highlight recent cyber risk trends and headline statistics around cyberattack rates</a:t>
            </a:r>
          </a:p>
          <a:p>
            <a:pPr marL="171450" indent="-171450">
              <a:buFont typeface="Arial" panose="020B0604020202020204" pitchFamily="34" charset="0"/>
              <a:buChar char="•"/>
            </a:pPr>
            <a:r>
              <a:rPr lang="en-US" b="0" baseline="0" dirty="0"/>
              <a:t>Matt will talk about the insurance industry response and heightened concerns around Silent Cyber along with other industry challenges – </a:t>
            </a:r>
          </a:p>
          <a:p>
            <a:pPr marL="171450" indent="-171450">
              <a:buFont typeface="Arial" panose="020B0604020202020204" pitchFamily="34" charset="0"/>
              <a:buChar char="•"/>
            </a:pPr>
            <a:r>
              <a:rPr lang="en-US" b="0" baseline="0" dirty="0"/>
              <a:t>And finally we’ll end with our view of the path forward and where there is an opportunity for growth, especially around providing coverage in the underserved personal and small commercial cyber business </a:t>
            </a:r>
            <a:endParaRPr lang="en-US" b="0" dirty="0"/>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b="0" baseline="0" dirty="0"/>
              <a:t>And while we aren’t the first to ask this particular question, it bears repeating here as it is the underlying theme to our presentation  - will or should cyber risk no longer be treated as a specialty line, but instead be treated like a core peril within P&amp;C insurance?  </a:t>
            </a:r>
            <a:endParaRPr lang="en-US" b="0" dirty="0"/>
          </a:p>
        </p:txBody>
      </p:sp>
      <p:sp>
        <p:nvSpPr>
          <p:cNvPr id="4" name="Slide Number Placeholder 3"/>
          <p:cNvSpPr>
            <a:spLocks noGrp="1"/>
          </p:cNvSpPr>
          <p:nvPr>
            <p:ph type="sldNum" sz="quarter" idx="10"/>
          </p:nvPr>
        </p:nvSpPr>
        <p:spPr/>
        <p:txBody>
          <a:bodyPr/>
          <a:lstStyle/>
          <a:p>
            <a:fld id="{F34509B5-D2D2-4002-BFA7-69A3BECABAA9}" type="slidenum">
              <a:rPr lang="en-US" smtClean="0"/>
              <a:t>8</a:t>
            </a:fld>
            <a:endParaRPr lang="en-US"/>
          </a:p>
        </p:txBody>
      </p:sp>
    </p:spTree>
    <p:extLst>
      <p:ext uri="{BB962C8B-B14F-4D97-AF65-F5344CB8AC3E}">
        <p14:creationId xmlns:p14="http://schemas.microsoft.com/office/powerpoint/2010/main" val="1218524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dirty="0"/>
          </a:p>
          <a:p>
            <a:endParaRPr lang="en-US" sz="1200" b="1" dirty="0"/>
          </a:p>
          <a:p>
            <a:r>
              <a:rPr lang="en-US" sz="1200" b="0" dirty="0"/>
              <a:t>And, of course, with a tech-enabled society, when the Covid-19 pandemic hit, convenience became more important than ever.. And interactions with those devices increased.</a:t>
            </a:r>
          </a:p>
          <a:p>
            <a:endParaRPr lang="en-US" sz="1200" b="0" dirty="0"/>
          </a:p>
          <a:p>
            <a:r>
              <a:rPr lang="en-US" sz="1200" b="0" dirty="0"/>
              <a:t>38% of people reported they now</a:t>
            </a:r>
            <a:r>
              <a:rPr lang="en-US" sz="1200" b="0" baseline="0" dirty="0"/>
              <a:t> have </a:t>
            </a:r>
            <a:r>
              <a:rPr lang="en-US" sz="1200" b="0" dirty="0"/>
              <a:t>more connected devices as</a:t>
            </a:r>
            <a:r>
              <a:rPr lang="en-US" sz="1200" b="0" baseline="0" dirty="0"/>
              <a:t> compared to pre-pandemic</a:t>
            </a:r>
          </a:p>
          <a:p>
            <a:r>
              <a:rPr lang="en-US" sz="1200" b="0" baseline="0" dirty="0"/>
              <a:t>45% of FT employees are WFH to some degree, including majority of office-work employees, </a:t>
            </a:r>
          </a:p>
          <a:p>
            <a:r>
              <a:rPr lang="en-US" sz="1200" b="0" baseline="0" dirty="0"/>
              <a:t>And, especially with mid-to-small size companies, employees are also often using their own devices to connect to work and access email, networks and other systems (called BYOD). </a:t>
            </a:r>
          </a:p>
          <a:p>
            <a:endParaRPr lang="en-US" sz="1200" b="0" baseline="0" dirty="0"/>
          </a:p>
          <a:p>
            <a:r>
              <a:rPr lang="en-US" sz="1200" b="0" dirty="0"/>
              <a:t>From virtual school lessons, WFH, virtual doctor’s appointments, online shopping</a:t>
            </a:r>
            <a:r>
              <a:rPr lang="en-US" sz="1200" b="0" baseline="0" dirty="0"/>
              <a:t> and</a:t>
            </a:r>
            <a:r>
              <a:rPr lang="en-US" sz="1200" b="0" dirty="0"/>
              <a:t> banking, even the increased online social interactions –the role of connected devices moved from luxury to lifeline during the pandemic, and may – for the most part - be here to stay</a:t>
            </a:r>
          </a:p>
          <a:p>
            <a:endParaRPr lang="en-US" sz="1200" b="0" dirty="0"/>
          </a:p>
          <a:p>
            <a:r>
              <a:rPr lang="en-US" sz="1200" b="0" dirty="0"/>
              <a:t>But with that accessibility comes risk, especially given the rapid rise of adoption and explosion of</a:t>
            </a:r>
            <a:r>
              <a:rPr lang="en-US" sz="1200" b="0" baseline="0" dirty="0"/>
              <a:t> connected devices. </a:t>
            </a:r>
          </a:p>
          <a:p>
            <a:endParaRPr lang="en-US" sz="1200" b="0" baseline="0" dirty="0"/>
          </a:p>
          <a:p>
            <a:r>
              <a:rPr lang="en-US" sz="1200" b="0" baseline="0" dirty="0"/>
              <a:t>I’d like to turn it over to Matt now to talk about the pressing need for cyber protection and cyber insurance for both consumers and small businesses. Matt? </a:t>
            </a:r>
          </a:p>
          <a:p>
            <a:endParaRPr lang="en-US" sz="1200" b="0" baseline="0" dirty="0"/>
          </a:p>
          <a:p>
            <a:r>
              <a:rPr lang="en-US" sz="1200" b="1" baseline="0" dirty="0"/>
              <a:t>MATT </a:t>
            </a:r>
            <a:r>
              <a:rPr lang="en-US" sz="1200" b="0" baseline="0" dirty="0"/>
              <a:t>– expansion of our “digital attackable surface”</a:t>
            </a:r>
            <a:endParaRPr lang="en-US" sz="1200" b="1" dirty="0"/>
          </a:p>
          <a:p>
            <a:endParaRPr lang="en-US" dirty="0"/>
          </a:p>
          <a:p>
            <a:endParaRPr lang="en-US" dirty="0"/>
          </a:p>
          <a:p>
            <a:endParaRPr lang="en-US" dirty="0"/>
          </a:p>
          <a:p>
            <a:endParaRPr lang="en-US" dirty="0"/>
          </a:p>
          <a:p>
            <a:endParaRPr lang="en-US" dirty="0"/>
          </a:p>
          <a:p>
            <a:r>
              <a:rPr lang="en-US" dirty="0"/>
              <a:t>Source: </a:t>
            </a:r>
            <a:r>
              <a:rPr lang="en-US" dirty="0" err="1"/>
              <a:t>EarthWeb</a:t>
            </a:r>
            <a:endParaRPr lang="en-US" dirty="0"/>
          </a:p>
          <a:p>
            <a:pPr marL="171450" indent="-171450">
              <a:buFont typeface="Arial" panose="020B0604020202020204" pitchFamily="34" charset="0"/>
              <a:buChar char="•"/>
            </a:pPr>
            <a:r>
              <a:rPr lang="en-US" dirty="0"/>
              <a:t>The Average American Spends 10 Hours a Day on A Screen (this includes time spent on their phone, personal computer, and TV)</a:t>
            </a:r>
          </a:p>
          <a:p>
            <a:r>
              <a:rPr lang="en-US" dirty="0"/>
              <a:t>https://earthweb.com/how-much-time-does-the-average-american-spend-on-their-phone/</a:t>
            </a:r>
          </a:p>
          <a:p>
            <a:endParaRPr lang="en-US" dirty="0"/>
          </a:p>
          <a:p>
            <a:endParaRPr lang="en-US" dirty="0"/>
          </a:p>
          <a:p>
            <a:r>
              <a:rPr lang="en-US" dirty="0"/>
              <a:t>Source: Zipp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panose="020B0604020202020204" pitchFamily="34" charset="0"/>
                <a:cs typeface="Arial" panose="020B0604020202020204" pitchFamily="34" charset="0"/>
              </a:rPr>
              <a:t>The average American checks their phone 96 times per day</a:t>
            </a:r>
            <a:r>
              <a:rPr lang="en-US" baseline="30000" dirty="0">
                <a:latin typeface="Arial" panose="020B0604020202020204" pitchFamily="34" charset="0"/>
                <a:cs typeface="Arial" panose="020B0604020202020204" pitchFamily="34" charset="0"/>
              </a:rPr>
              <a:t>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panose="020B0604020202020204" pitchFamily="34" charset="0"/>
                <a:cs typeface="Arial" panose="020B0604020202020204" pitchFamily="34" charset="0"/>
              </a:rPr>
              <a:t>The average American spends at least 5 hours on their phone per day</a:t>
            </a:r>
            <a:r>
              <a:rPr lang="en-US" baseline="30000" dirty="0">
                <a:latin typeface="Arial" panose="020B0604020202020204" pitchFamily="34" charset="0"/>
                <a:cs typeface="Arial" panose="020B0604020202020204" pitchFamily="34" charset="0"/>
              </a:rPr>
              <a:t>6</a:t>
            </a:r>
            <a:endParaRPr lang="en-US" dirty="0"/>
          </a:p>
          <a:p>
            <a:r>
              <a:rPr lang="en-US" dirty="0"/>
              <a:t>https://www.zippia.com/advice/smartphone-usage-statistics/</a:t>
            </a:r>
          </a:p>
          <a:p>
            <a:endParaRPr lang="en-US" dirty="0"/>
          </a:p>
          <a:p>
            <a:r>
              <a:rPr lang="en-US" dirty="0"/>
              <a:t>Source: </a:t>
            </a:r>
            <a:r>
              <a:rPr lang="en-US" dirty="0" err="1"/>
              <a:t>RescueTime</a:t>
            </a:r>
            <a:r>
              <a:rPr lang="en-US" dirty="0"/>
              <a:t> (11,000 users</a:t>
            </a:r>
            <a:r>
              <a:rPr lang="en-US" baseline="0" dirty="0"/>
              <a:t> of the time management app) – 2019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latin typeface="Arial" panose="020B0604020202020204" pitchFamily="34" charset="0"/>
                <a:cs typeface="Arial" panose="020B0604020202020204" pitchFamily="34" charset="0"/>
              </a:rPr>
              <a:t>On average, we spend 3 hours 15 minutes a day on our phones</a:t>
            </a:r>
            <a:r>
              <a:rPr lang="en-US" b="0" baseline="30000" dirty="0">
                <a:latin typeface="Arial" panose="020B0604020202020204" pitchFamily="34" charset="0"/>
                <a:cs typeface="Arial" panose="020B0604020202020204" pitchFamily="34" charset="0"/>
              </a:rPr>
              <a:t>5</a:t>
            </a:r>
            <a:endParaRPr lang="en-US" b="0" dirty="0"/>
          </a:p>
          <a:p>
            <a:pPr marL="171450" indent="-171450">
              <a:buFont typeface="Arial" panose="020B0604020202020204" pitchFamily="34" charset="0"/>
              <a:buChar char="•"/>
            </a:pPr>
            <a:r>
              <a:rPr lang="en-US" sz="1200" b="0" i="0" kern="1200" dirty="0">
                <a:solidFill>
                  <a:schemeClr val="tx1"/>
                </a:solidFill>
                <a:effectLst/>
                <a:latin typeface="+mn-lt"/>
                <a:ea typeface="+mn-ea"/>
                <a:cs typeface="+mn-cs"/>
              </a:rPr>
              <a:t>the top 20% of smartphone users have daily screen time in excess of 4.5 hou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On average, people check their phones 58 times per day, 30 of those check-ins occur during work</a:t>
            </a:r>
            <a:r>
              <a:rPr lang="en-US" b="0" baseline="0" dirty="0"/>
              <a:t> hours (</a:t>
            </a:r>
            <a:r>
              <a:rPr lang="en-US" b="0" dirty="0"/>
              <a:t>9a-5p) – 70% of sessions less than 2min,</a:t>
            </a:r>
            <a:r>
              <a:rPr lang="en-US" b="0" baseline="0" dirty="0"/>
              <a:t> 25% between 2-10min, and 5% more than 10min</a:t>
            </a:r>
            <a:endParaRPr lang="en-US" b="0" dirty="0"/>
          </a:p>
          <a:p>
            <a:r>
              <a:rPr lang="en-US" dirty="0"/>
              <a:t>https://blog.rescuetime.com/screen-time-stats-2018/</a:t>
            </a:r>
          </a:p>
          <a:p>
            <a:endParaRPr lang="en-US" dirty="0"/>
          </a:p>
          <a:p>
            <a:endParaRPr lang="en-US" dirty="0"/>
          </a:p>
          <a:p>
            <a:r>
              <a:rPr lang="en-US" dirty="0"/>
              <a:t>Source: Deloitte</a:t>
            </a:r>
          </a:p>
          <a:p>
            <a:r>
              <a:rPr lang="en-US" dirty="0"/>
              <a:t>https://www2.deloitte.com/us/en/insights/industry/telecommunications/connectivity-mobile-trends-survey.html</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news.gallup.com/poll/355907/remote-work-persisting-trending-permanent.aspx</a:t>
            </a:r>
          </a:p>
          <a:p>
            <a:endParaRPr lang="en-US" dirty="0"/>
          </a:p>
          <a:p>
            <a:endParaRPr lang="en-US" dirty="0"/>
          </a:p>
          <a:p>
            <a:endParaRPr lang="en-US" dirty="0"/>
          </a:p>
          <a:p>
            <a:r>
              <a:rPr lang="en-US" dirty="0"/>
              <a:t>https://datareportal.com/reports/digital-2022-united-states-of-America</a:t>
            </a:r>
          </a:p>
          <a:p>
            <a:pPr marL="171450" indent="-171450">
              <a:buFont typeface="Arial" panose="020B0604020202020204" pitchFamily="34" charset="0"/>
              <a:buChar char="•"/>
            </a:pPr>
            <a:r>
              <a:rPr lang="en-US" dirty="0"/>
              <a:t>2022: 92% of US population uses the</a:t>
            </a:r>
            <a:r>
              <a:rPr lang="en-US" baseline="0" dirty="0"/>
              <a:t> internet (https://datareportal.com/reports/digital-2022-united-states-of-America) </a:t>
            </a:r>
            <a:endParaRPr lang="en-US" dirty="0"/>
          </a:p>
          <a:p>
            <a:pPr marL="171450" indent="-171450">
              <a:buFont typeface="Arial" panose="020B0604020202020204" pitchFamily="34" charset="0"/>
              <a:buChar char="•"/>
            </a:pPr>
            <a:r>
              <a:rPr lang="en-US" dirty="0"/>
              <a:t>2021: 90% of US population uses the</a:t>
            </a:r>
            <a:r>
              <a:rPr lang="en-US" baseline="0" dirty="0"/>
              <a:t> internet (https://datareportal.com/reports/digital-2021-united-states-of-America)</a:t>
            </a:r>
          </a:p>
          <a:p>
            <a:pPr marL="171450" indent="-171450">
              <a:buFont typeface="Arial" panose="020B0604020202020204" pitchFamily="34" charset="0"/>
              <a:buChar char="•"/>
            </a:pPr>
            <a:r>
              <a:rPr lang="en-US" baseline="0" dirty="0"/>
              <a:t>2020: 88% </a:t>
            </a:r>
            <a:r>
              <a:rPr lang="en-US" dirty="0"/>
              <a:t>of US population uses the</a:t>
            </a:r>
            <a:r>
              <a:rPr lang="en-US" baseline="0" dirty="0"/>
              <a:t> internet (https://datareportal.com/reports/digital-2020-united-states-of-America)</a:t>
            </a:r>
          </a:p>
          <a:p>
            <a:pPr marL="171450" indent="-171450">
              <a:buFont typeface="Arial" panose="020B0604020202020204" pitchFamily="34" charset="0"/>
              <a:buChar char="•"/>
            </a:pPr>
            <a:r>
              <a:rPr lang="en-US" baseline="0" dirty="0"/>
              <a:t>2018: 88%</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Old st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panose="020B0604020202020204" pitchFamily="34" charset="0"/>
                <a:cs typeface="Arial" panose="020B0604020202020204" pitchFamily="34" charset="0"/>
              </a:rPr>
              <a:t>On average, people in the U.S. spend </a:t>
            </a:r>
            <a:r>
              <a:rPr lang="en-US" b="1" u="sng" dirty="0">
                <a:latin typeface="Arial" panose="020B0604020202020204" pitchFamily="34" charset="0"/>
                <a:cs typeface="Arial" panose="020B0604020202020204" pitchFamily="34" charset="0"/>
              </a:rPr>
              <a:t>7 hours 5 mins</a:t>
            </a: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on the internet daily</a:t>
            </a:r>
            <a:r>
              <a:rPr lang="en-US" baseline="30000" dirty="0">
                <a:latin typeface="Arial" panose="020B0604020202020204" pitchFamily="34" charset="0"/>
                <a:cs typeface="Arial" panose="020B0604020202020204" pitchFamily="34" charset="0"/>
              </a:rPr>
              <a:t>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3000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3000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30000" dirty="0">
              <a:latin typeface="Arial" panose="020B0604020202020204" pitchFamily="34" charset="0"/>
              <a:cs typeface="Arial" panose="020B0604020202020204" pitchFamily="34" charset="0"/>
            </a:endParaRPr>
          </a:p>
          <a:p>
            <a:pPr algn="just"/>
            <a:r>
              <a:rPr lang="en-US" sz="1200" baseline="30000" dirty="0">
                <a:latin typeface="Arial" panose="020B0604020202020204" pitchFamily="34" charset="0"/>
                <a:cs typeface="Arial" panose="020B0604020202020204" pitchFamily="34" charset="0"/>
              </a:rPr>
              <a:t>1</a:t>
            </a:r>
            <a:r>
              <a:rPr lang="en-US" sz="1200" dirty="0">
                <a:latin typeface="Arial" panose="020B0604020202020204" pitchFamily="34" charset="0"/>
                <a:cs typeface="Arial" panose="020B0604020202020204" pitchFamily="34" charset="0"/>
              </a:rPr>
              <a:t>Data Reportal</a:t>
            </a:r>
          </a:p>
          <a:p>
            <a:pPr algn="just"/>
            <a:r>
              <a:rPr lang="en-US" sz="1200" baseline="30000" dirty="0">
                <a:latin typeface="Arial" panose="020B0604020202020204" pitchFamily="34" charset="0"/>
                <a:cs typeface="Arial" panose="020B0604020202020204" pitchFamily="34" charset="0"/>
              </a:rPr>
              <a:t>2</a:t>
            </a:r>
            <a:r>
              <a:rPr lang="en-US" sz="1200" dirty="0">
                <a:latin typeface="Arial" panose="020B0604020202020204" pitchFamily="34" charset="0"/>
                <a:cs typeface="Arial" panose="020B0604020202020204" pitchFamily="34" charset="0"/>
              </a:rPr>
              <a:t>Deloitte</a:t>
            </a:r>
          </a:p>
          <a:p>
            <a:pPr algn="just"/>
            <a:r>
              <a:rPr lang="en-US" sz="1200" baseline="30000" dirty="0">
                <a:latin typeface="Arial" panose="020B0604020202020204" pitchFamily="34" charset="0"/>
                <a:cs typeface="Arial" panose="020B0604020202020204" pitchFamily="34" charset="0"/>
              </a:rPr>
              <a:t>3</a:t>
            </a:r>
            <a:r>
              <a:rPr lang="en-US" sz="1200" dirty="0">
                <a:latin typeface="Arial" panose="020B0604020202020204" pitchFamily="34" charset="0"/>
                <a:cs typeface="Arial" panose="020B0604020202020204" pitchFamily="34" charset="0"/>
              </a:rPr>
              <a:t>Gallup</a:t>
            </a:r>
            <a:endParaRPr lang="en-US" sz="1200" baseline="30000" dirty="0">
              <a:latin typeface="Arial" panose="020B0604020202020204" pitchFamily="34" charset="0"/>
              <a:cs typeface="Arial" panose="020B0604020202020204" pitchFamily="34" charset="0"/>
            </a:endParaRPr>
          </a:p>
          <a:p>
            <a:pPr algn="just"/>
            <a:r>
              <a:rPr lang="en-US" sz="1200" baseline="30000" dirty="0">
                <a:latin typeface="Arial" panose="020B0604020202020204" pitchFamily="34" charset="0"/>
                <a:cs typeface="Arial" panose="020B0604020202020204" pitchFamily="34" charset="0"/>
              </a:rPr>
              <a:t>4</a:t>
            </a:r>
            <a:r>
              <a:rPr lang="en-US" sz="1200" dirty="0">
                <a:latin typeface="Arial" panose="020B0604020202020204" pitchFamily="34" charset="0"/>
                <a:cs typeface="Arial" panose="020B0604020202020204" pitchFamily="34" charset="0"/>
              </a:rPr>
              <a:t>Mordor Intelligence</a:t>
            </a:r>
            <a:endParaRPr lang="en-US" sz="1200" baseline="3000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300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34509B5-D2D2-4002-BFA7-69A3BECABAA9}" type="slidenum">
              <a:rPr lang="en-US" smtClean="0"/>
              <a:t>9</a:t>
            </a:fld>
            <a:endParaRPr lang="en-US"/>
          </a:p>
        </p:txBody>
      </p:sp>
    </p:spTree>
    <p:extLst>
      <p:ext uri="{BB962C8B-B14F-4D97-AF65-F5344CB8AC3E}">
        <p14:creationId xmlns:p14="http://schemas.microsoft.com/office/powerpoint/2010/main" val="277991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T</a:t>
            </a:r>
          </a:p>
          <a:p>
            <a:endParaRPr lang="en-US" dirty="0"/>
          </a:p>
          <a:p>
            <a:r>
              <a:rPr lang="en-US" dirty="0"/>
              <a:t>Another question in the survey was around…</a:t>
            </a:r>
          </a:p>
          <a:p>
            <a:endParaRPr lang="en-US" dirty="0"/>
          </a:p>
          <a:p>
            <a:endParaRPr lang="en-US" dirty="0"/>
          </a:p>
          <a:p>
            <a:r>
              <a:rPr lang="en-US" b="1" dirty="0"/>
              <a:t>ELLA</a:t>
            </a:r>
          </a:p>
          <a:p>
            <a:endParaRPr lang="en-US" dirty="0"/>
          </a:p>
          <a:p>
            <a:r>
              <a:rPr lang="en-US" dirty="0"/>
              <a:t>Key takeaway from</a:t>
            </a:r>
            <a:r>
              <a:rPr lang="en-US" baseline="0" dirty="0"/>
              <a:t> the last 2 survey questions – consumers are more aware than ever about the risks (especially with today’s constant coverage in the news), and they either don’t know where to turn or expect their insurance company to help</a:t>
            </a:r>
            <a:endParaRPr lang="en-US" dirty="0"/>
          </a:p>
          <a:p>
            <a:endParaRPr lang="en-US" dirty="0"/>
          </a:p>
          <a:p>
            <a:r>
              <a:rPr lang="en-US" dirty="0"/>
              <a:t>Let’s look at some recent headlines</a:t>
            </a:r>
            <a:r>
              <a:rPr lang="en-US" baseline="0" dirty="0"/>
              <a:t> in the news around cyber insurance</a:t>
            </a:r>
            <a:endParaRPr lang="en-US" dirty="0"/>
          </a:p>
        </p:txBody>
      </p:sp>
      <p:sp>
        <p:nvSpPr>
          <p:cNvPr id="4" name="Slide Number Placeholder 3"/>
          <p:cNvSpPr>
            <a:spLocks noGrp="1"/>
          </p:cNvSpPr>
          <p:nvPr>
            <p:ph type="sldNum" sz="quarter" idx="10"/>
          </p:nvPr>
        </p:nvSpPr>
        <p:spPr/>
        <p:txBody>
          <a:bodyPr/>
          <a:lstStyle/>
          <a:p>
            <a:fld id="{F34509B5-D2D2-4002-BFA7-69A3BECABAA9}" type="slidenum">
              <a:rPr lang="en-US" smtClean="0"/>
              <a:t>11</a:t>
            </a:fld>
            <a:endParaRPr lang="en-US"/>
          </a:p>
        </p:txBody>
      </p:sp>
    </p:spTree>
    <p:extLst>
      <p:ext uri="{BB962C8B-B14F-4D97-AF65-F5344CB8AC3E}">
        <p14:creationId xmlns:p14="http://schemas.microsoft.com/office/powerpoint/2010/main" val="1492189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MAT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re-created from:</a:t>
            </a:r>
            <a:r>
              <a:rPr lang="en-US" sz="1200" baseline="0" dirty="0"/>
              <a:t> </a:t>
            </a:r>
            <a:r>
              <a:rPr lang="en-US" sz="1200" dirty="0"/>
              <a:t>https://www.guycarp.com/insights/2019/10/silent-cyber-solutions-emerge-amid-the-uncertainties.htm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p:txBody>
      </p:sp>
      <p:sp>
        <p:nvSpPr>
          <p:cNvPr id="4" name="Slide Number Placeholder 3"/>
          <p:cNvSpPr>
            <a:spLocks noGrp="1"/>
          </p:cNvSpPr>
          <p:nvPr>
            <p:ph type="sldNum" sz="quarter" idx="10"/>
          </p:nvPr>
        </p:nvSpPr>
        <p:spPr/>
        <p:txBody>
          <a:bodyPr/>
          <a:lstStyle/>
          <a:p>
            <a:fld id="{F34509B5-D2D2-4002-BFA7-69A3BECABAA9}" type="slidenum">
              <a:rPr lang="en-US" smtClean="0"/>
              <a:t>12</a:t>
            </a:fld>
            <a:endParaRPr lang="en-US"/>
          </a:p>
        </p:txBody>
      </p:sp>
    </p:spTree>
    <p:extLst>
      <p:ext uri="{BB962C8B-B14F-4D97-AF65-F5344CB8AC3E}">
        <p14:creationId xmlns:p14="http://schemas.microsoft.com/office/powerpoint/2010/main" val="554154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LLA</a:t>
            </a:r>
            <a:endParaRPr lang="en-US" b="0" dirty="0"/>
          </a:p>
          <a:p>
            <a:r>
              <a:rPr lang="en-US" b="0" baseline="0" dirty="0"/>
              <a:t>One last result from the TU consumer survey that we’d like to share with you</a:t>
            </a:r>
          </a:p>
          <a:p>
            <a:endParaRPr lang="en-US" b="0" baseline="0" dirty="0"/>
          </a:p>
          <a:p>
            <a:r>
              <a:rPr lang="en-US" b="0" baseline="0" dirty="0"/>
              <a:t>The question is “In considering a cyber protection solution, what is the top feature you would like to see?”</a:t>
            </a:r>
          </a:p>
          <a:p>
            <a:endParaRPr lang="en-US" b="0" baseline="0" dirty="0"/>
          </a:p>
          <a:p>
            <a:pPr marL="171450" indent="-171450">
              <a:buFont typeface="Arial" panose="020B0604020202020204" pitchFamily="34" charset="0"/>
              <a:buChar char="•"/>
            </a:pPr>
            <a:r>
              <a:rPr lang="en-US" b="0" baseline="0" dirty="0"/>
              <a:t>37% want 24/7 live expert support. That was the top response, and I know, Matt, you’ve told me you that this is consistent with other surveys in the past, correct? </a:t>
            </a:r>
          </a:p>
          <a:p>
            <a:pPr marL="171450" indent="-171450">
              <a:buFont typeface="Arial" panose="020B0604020202020204" pitchFamily="34" charset="0"/>
              <a:buChar char="•"/>
            </a:pPr>
            <a:endParaRPr lang="en-US" b="0" baseline="0" dirty="0"/>
          </a:p>
          <a:p>
            <a:pPr marL="0" indent="0">
              <a:buFont typeface="Arial" panose="020B0604020202020204" pitchFamily="34" charset="0"/>
              <a:buNone/>
            </a:pPr>
            <a:r>
              <a:rPr lang="en-US" b="1" baseline="0" dirty="0"/>
              <a:t>MATT </a:t>
            </a:r>
            <a:r>
              <a:rPr lang="en-US" b="0" baseline="0" dirty="0"/>
              <a:t>responds and covers rest of slide </a:t>
            </a:r>
          </a:p>
          <a:p>
            <a:pPr marL="0" indent="0">
              <a:buFont typeface="Arial" panose="020B0604020202020204" pitchFamily="34" charset="0"/>
              <a:buNone/>
            </a:pPr>
            <a:endParaRPr lang="en-US" b="0" baseline="0" dirty="0"/>
          </a:p>
          <a:p>
            <a:pPr marL="0" indent="0">
              <a:buFont typeface="Arial" panose="020B0604020202020204" pitchFamily="34" charset="0"/>
              <a:buNone/>
            </a:pPr>
            <a:r>
              <a:rPr lang="en-US" b="0" baseline="0" dirty="0"/>
              <a:t>At end </a:t>
            </a:r>
            <a:r>
              <a:rPr lang="en-US" b="1" baseline="0" dirty="0"/>
              <a:t>ELLA</a:t>
            </a:r>
            <a:r>
              <a:rPr lang="en-US" b="0" baseline="0" dirty="0"/>
              <a:t> says – It seems that consumers are asking for a wide array of services and protection in a cyber offering. How can an insurer who may not have expertise in this space in their organization, go about getting a comprehensive cyber program in place? </a:t>
            </a:r>
            <a:endParaRPr lang="en-US" b="1" baseline="0" dirty="0"/>
          </a:p>
          <a:p>
            <a:r>
              <a:rPr lang="en-US" b="1" baseline="0" dirty="0"/>
              <a:t> </a:t>
            </a:r>
          </a:p>
        </p:txBody>
      </p:sp>
      <p:sp>
        <p:nvSpPr>
          <p:cNvPr id="4" name="Slide Number Placeholder 3"/>
          <p:cNvSpPr>
            <a:spLocks noGrp="1"/>
          </p:cNvSpPr>
          <p:nvPr>
            <p:ph type="sldNum" sz="quarter" idx="10"/>
          </p:nvPr>
        </p:nvSpPr>
        <p:spPr/>
        <p:txBody>
          <a:bodyPr/>
          <a:lstStyle/>
          <a:p>
            <a:fld id="{F34509B5-D2D2-4002-BFA7-69A3BECABAA9}" type="slidenum">
              <a:rPr lang="en-US" smtClean="0"/>
              <a:t>13</a:t>
            </a:fld>
            <a:endParaRPr lang="en-US"/>
          </a:p>
        </p:txBody>
      </p:sp>
    </p:spTree>
    <p:extLst>
      <p:ext uri="{BB962C8B-B14F-4D97-AF65-F5344CB8AC3E}">
        <p14:creationId xmlns:p14="http://schemas.microsoft.com/office/powerpoint/2010/main" val="1879139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Blue/Yellow">
    <p:spTree>
      <p:nvGrpSpPr>
        <p:cNvPr id="1" name=""/>
        <p:cNvGrpSpPr/>
        <p:nvPr/>
      </p:nvGrpSpPr>
      <p:grpSpPr>
        <a:xfrm>
          <a:off x="0" y="0"/>
          <a:ext cx="0" cy="0"/>
          <a:chOff x="0" y="0"/>
          <a:chExt cx="0" cy="0"/>
        </a:xfrm>
      </p:grpSpPr>
      <p:sp>
        <p:nvSpPr>
          <p:cNvPr id="23" name="Rectangle 22"/>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grpSp>
        <p:nvGrpSpPr>
          <p:cNvPr id="26" name="Group 25"/>
          <p:cNvGrpSpPr>
            <a:grpSpLocks noChangeAspect="1"/>
          </p:cNvGrpSpPr>
          <p:nvPr userDrawn="1"/>
        </p:nvGrpSpPr>
        <p:grpSpPr>
          <a:xfrm>
            <a:off x="7654754" y="2402948"/>
            <a:ext cx="5157544" cy="5204386"/>
            <a:chOff x="0" y="-350837"/>
            <a:chExt cx="1358900" cy="1371600"/>
          </a:xfrm>
          <a:solidFill>
            <a:schemeClr val="bg2"/>
          </a:solidFill>
        </p:grpSpPr>
        <p:sp>
          <p:nvSpPr>
            <p:cNvPr id="27" name="Freeform 2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9" name="Freeform 28"/>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4" name="Title 1"/>
          <p:cNvSpPr>
            <a:spLocks noGrp="1"/>
          </p:cNvSpPr>
          <p:nvPr>
            <p:ph type="ctrTitle"/>
          </p:nvPr>
        </p:nvSpPr>
        <p:spPr bwMode="black">
          <a:xfrm>
            <a:off x="609759" y="3086100"/>
            <a:ext cx="10358967" cy="474662"/>
          </a:xfrm>
          <a:prstGeom prst="rect">
            <a:avLst/>
          </a:prstGeom>
        </p:spPr>
        <p:txBody>
          <a:bodyPr>
            <a:noAutofit/>
          </a:bodyPr>
          <a:lstStyle>
            <a:lvl1pPr>
              <a:defRPr sz="3200">
                <a:solidFill>
                  <a:srgbClr val="000000"/>
                </a:solidFill>
              </a:defRPr>
            </a:lvl1pPr>
          </a:lstStyle>
          <a:p>
            <a:r>
              <a:rPr lang="en-US"/>
              <a:t>Click to edit Master title style</a:t>
            </a:r>
          </a:p>
        </p:txBody>
      </p:sp>
      <p:sp>
        <p:nvSpPr>
          <p:cNvPr id="28" name="Text Placeholder 4"/>
          <p:cNvSpPr>
            <a:spLocks noGrp="1"/>
          </p:cNvSpPr>
          <p:nvPr>
            <p:ph type="body" sz="quarter" idx="11"/>
          </p:nvPr>
        </p:nvSpPr>
        <p:spPr>
          <a:xfrm>
            <a:off x="609759" y="5970317"/>
            <a:ext cx="7443374" cy="246221"/>
          </a:xfrm>
          <a:prstGeom prst="rect">
            <a:avLst/>
          </a:prstGeom>
        </p:spPr>
        <p:txBody>
          <a:bodyPr>
            <a:noAutofit/>
          </a:bodyPr>
          <a:lstStyle>
            <a:lvl1pPr marL="0" indent="0">
              <a:buNone/>
              <a:defRPr sz="1800" cap="all" baseline="0">
                <a:solidFill>
                  <a:schemeClr val="tx1"/>
                </a:solidFill>
              </a:defRPr>
            </a:lvl1pPr>
          </a:lstStyle>
          <a:p>
            <a:pPr lvl="0"/>
            <a:r>
              <a:rPr lang="en-US"/>
              <a:t>Click to edit Master text styles</a:t>
            </a:r>
          </a:p>
        </p:txBody>
      </p:sp>
      <p:sp>
        <p:nvSpPr>
          <p:cNvPr id="6" name="Text Placeholder 5"/>
          <p:cNvSpPr>
            <a:spLocks noGrp="1"/>
          </p:cNvSpPr>
          <p:nvPr>
            <p:ph type="body" sz="quarter" idx="12"/>
          </p:nvPr>
        </p:nvSpPr>
        <p:spPr>
          <a:xfrm>
            <a:off x="609759" y="3738710"/>
            <a:ext cx="7441258" cy="1829393"/>
          </a:xfrm>
        </p:spPr>
        <p:txBody>
          <a:bodyPr>
            <a:noAutofit/>
          </a:bodyPr>
          <a:lstStyle>
            <a:lvl1pPr marL="0" indent="0">
              <a:buNone/>
              <a:defRPr sz="2000"/>
            </a:lvl1pPr>
            <a:lvl2pPr marL="169863" indent="0">
              <a:buNone/>
              <a:defRPr sz="2000"/>
            </a:lvl2pPr>
            <a:lvl3pPr marL="398463" indent="0">
              <a:buNone/>
              <a:defRPr sz="2000"/>
            </a:lvl3pPr>
            <a:lvl4pPr marL="576263" indent="0">
              <a:buNone/>
              <a:defRPr sz="2000"/>
            </a:lvl4pPr>
            <a:lvl5pPr marL="804863" indent="0">
              <a:buNone/>
              <a:defRPr sz="2000"/>
            </a:lvl5pPr>
          </a:lstStyle>
          <a:p>
            <a:pPr lvl="0"/>
            <a:r>
              <a:rPr lang="en-US"/>
              <a:t>Click to edit Master text styles</a:t>
            </a:r>
          </a:p>
        </p:txBody>
      </p:sp>
      <p:grpSp>
        <p:nvGrpSpPr>
          <p:cNvPr id="30" name="Group 4"/>
          <p:cNvGrpSpPr>
            <a:grpSpLocks noChangeAspect="1"/>
          </p:cNvGrpSpPr>
          <p:nvPr userDrawn="1"/>
        </p:nvGrpSpPr>
        <p:grpSpPr bwMode="auto">
          <a:xfrm>
            <a:off x="609759" y="1350033"/>
            <a:ext cx="1858586" cy="485325"/>
            <a:chOff x="44" y="1156"/>
            <a:chExt cx="5628" cy="1470"/>
          </a:xfrm>
          <a:solidFill>
            <a:schemeClr val="tx2"/>
          </a:solidFill>
        </p:grpSpPr>
        <p:sp>
          <p:nvSpPr>
            <p:cNvPr id="31" name="Freeform 30"/>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31"/>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32"/>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33"/>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34"/>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35"/>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Rectangle 36"/>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37"/>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38"/>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39"/>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Freeform 40"/>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Freeform 41"/>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Freeform 42"/>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Freeform 43"/>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4" name="Rectangle 23"/>
          <p:cNvSpPr/>
          <p:nvPr userDrawn="1"/>
        </p:nvSpPr>
        <p:spPr>
          <a:xfrm>
            <a:off x="1" y="6678614"/>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25" name="Rectangle 24"/>
          <p:cNvSpPr/>
          <p:nvPr userDrawn="1"/>
        </p:nvSpPr>
        <p:spPr>
          <a:xfrm rot="16200000">
            <a:off x="8669263" y="3335317"/>
            <a:ext cx="6858002" cy="1873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grpSp>
        <p:nvGrpSpPr>
          <p:cNvPr id="45" name="Group 4"/>
          <p:cNvGrpSpPr>
            <a:grpSpLocks noChangeAspect="1"/>
          </p:cNvGrpSpPr>
          <p:nvPr userDrawn="1"/>
        </p:nvGrpSpPr>
        <p:grpSpPr bwMode="auto">
          <a:xfrm>
            <a:off x="762198" y="1502433"/>
            <a:ext cx="1858586" cy="485325"/>
            <a:chOff x="44" y="1156"/>
            <a:chExt cx="5628" cy="1470"/>
          </a:xfrm>
          <a:solidFill>
            <a:schemeClr val="bg1"/>
          </a:solidFill>
        </p:grpSpPr>
        <p:sp>
          <p:nvSpPr>
            <p:cNvPr id="46" name="Freeform 45"/>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Freeform 46"/>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7"/>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48"/>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49"/>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0"/>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Rectangle 51"/>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2"/>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4" name="Freeform 53"/>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5" name="Freeform 54"/>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55"/>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56"/>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8" name="Freeform 57"/>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9" name="Freeform 58"/>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83199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hite Logo Transition">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918633"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21" name="Group 4"/>
          <p:cNvGrpSpPr>
            <a:grpSpLocks noChangeAspect="1"/>
          </p:cNvGrpSpPr>
          <p:nvPr userDrawn="1"/>
        </p:nvGrpSpPr>
        <p:grpSpPr bwMode="auto">
          <a:xfrm>
            <a:off x="10433650" y="380391"/>
            <a:ext cx="1148591" cy="299927"/>
            <a:chOff x="44" y="1156"/>
            <a:chExt cx="5628" cy="1470"/>
          </a:xfrm>
          <a:solidFill>
            <a:schemeClr val="tx2"/>
          </a:solidFill>
        </p:grpSpPr>
        <p:sp>
          <p:nvSpPr>
            <p:cNvPr id="22" name="Freeform 21"/>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7740691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Yellow Section Breaker">
    <p:bg>
      <p:bgPr>
        <a:solidFill>
          <a:schemeClr val="bg1"/>
        </a:solidFill>
        <a:effectLst/>
      </p:bgPr>
    </p:bg>
    <p:spTree>
      <p:nvGrpSpPr>
        <p:cNvPr id="1" name=""/>
        <p:cNvGrpSpPr/>
        <p:nvPr/>
      </p:nvGrpSpPr>
      <p:grpSpPr>
        <a:xfrm>
          <a:off x="0" y="0"/>
          <a:ext cx="0" cy="0"/>
          <a:chOff x="0" y="0"/>
          <a:chExt cx="0" cy="0"/>
        </a:xfrm>
      </p:grpSpPr>
      <p:sp>
        <p:nvSpPr>
          <p:cNvPr id="27" name="Rectangle 26"/>
          <p:cNvSpPr/>
          <p:nvPr userDrawn="1"/>
        </p:nvSpPr>
        <p:spPr>
          <a:xfrm>
            <a:off x="187373" y="179389"/>
            <a:ext cx="11817253"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grpSp>
        <p:nvGrpSpPr>
          <p:cNvPr id="24" name="Group 23"/>
          <p:cNvGrpSpPr>
            <a:grpSpLocks noChangeAspect="1"/>
          </p:cNvGrpSpPr>
          <p:nvPr userDrawn="1"/>
        </p:nvGrpSpPr>
        <p:grpSpPr>
          <a:xfrm>
            <a:off x="9078632" y="1"/>
            <a:ext cx="3458895" cy="3490307"/>
            <a:chOff x="0" y="-350837"/>
            <a:chExt cx="1358900" cy="1371600"/>
          </a:xfrm>
          <a:solidFill>
            <a:srgbClr val="FCD800"/>
          </a:solidFill>
        </p:grpSpPr>
        <p:sp>
          <p:nvSpPr>
            <p:cNvPr id="25" name="Freeform 24"/>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6" name="Freeform 25"/>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11" name="Rectangle 10"/>
          <p:cNvSpPr/>
          <p:nvPr userDrawn="1"/>
        </p:nvSpPr>
        <p:spPr>
          <a:xfrm rot="10800000">
            <a:off x="-1" y="-1"/>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12" name="Rectangle 11"/>
          <p:cNvSpPr/>
          <p:nvPr userDrawn="1"/>
        </p:nvSpPr>
        <p:spPr>
          <a:xfrm rot="16200000">
            <a:off x="8669314"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15"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6"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58834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Sub-Section Breaker">
    <p:spTree>
      <p:nvGrpSpPr>
        <p:cNvPr id="1" name=""/>
        <p:cNvGrpSpPr/>
        <p:nvPr/>
      </p:nvGrpSpPr>
      <p:grpSpPr>
        <a:xfrm>
          <a:off x="0" y="0"/>
          <a:ext cx="0" cy="0"/>
          <a:chOff x="0" y="0"/>
          <a:chExt cx="0" cy="0"/>
        </a:xfrm>
      </p:grpSpPr>
      <p:sp>
        <p:nvSpPr>
          <p:cNvPr id="41" name="Rectangle 40"/>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sp>
        <p:nvSpPr>
          <p:cNvPr id="23"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24"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5"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26"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7" name="Freeform 26"/>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349119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ue Logo Transition">
    <p:spTree>
      <p:nvGrpSpPr>
        <p:cNvPr id="1" name=""/>
        <p:cNvGrpSpPr/>
        <p:nvPr/>
      </p:nvGrpSpPr>
      <p:grpSpPr>
        <a:xfrm>
          <a:off x="0" y="0"/>
          <a:ext cx="0" cy="0"/>
          <a:chOff x="0" y="0"/>
          <a:chExt cx="0" cy="0"/>
        </a:xfrm>
      </p:grpSpPr>
      <p:sp>
        <p:nvSpPr>
          <p:cNvPr id="37" name="Rectangle 36"/>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sp>
        <p:nvSpPr>
          <p:cNvPr id="4" name="Text Placeholder 2"/>
          <p:cNvSpPr>
            <a:spLocks noGrp="1"/>
          </p:cNvSpPr>
          <p:nvPr>
            <p:ph type="body" idx="1"/>
          </p:nvPr>
        </p:nvSpPr>
        <p:spPr bwMode="black">
          <a:xfrm>
            <a:off x="919240"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22"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3" name="Freeform 22"/>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481890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Yellow Section Breaker">
    <p:bg>
      <p:bgPr>
        <a:solidFill>
          <a:schemeClr val="bg1"/>
        </a:solidFill>
        <a:effectLst/>
      </p:bgPr>
    </p:bg>
    <p:spTree>
      <p:nvGrpSpPr>
        <p:cNvPr id="1" name=""/>
        <p:cNvGrpSpPr/>
        <p:nvPr/>
      </p:nvGrpSpPr>
      <p:grpSpPr>
        <a:xfrm>
          <a:off x="0" y="0"/>
          <a:ext cx="0" cy="0"/>
          <a:chOff x="0" y="0"/>
          <a:chExt cx="0" cy="0"/>
        </a:xfrm>
      </p:grpSpPr>
      <p:sp>
        <p:nvSpPr>
          <p:cNvPr id="27" name="Rectangle 26"/>
          <p:cNvSpPr/>
          <p:nvPr userDrawn="1"/>
        </p:nvSpPr>
        <p:spPr>
          <a:xfrm>
            <a:off x="187375" y="23928"/>
            <a:ext cx="11817253" cy="6492875"/>
          </a:xfrm>
          <a:prstGeom prst="rect">
            <a:avLst/>
          </a:prstGeom>
          <a:solidFill>
            <a:srgbClr val="EBEBEB"/>
          </a:solidFill>
          <a:ln>
            <a:solidFill>
              <a:srgbClr val="EDEDE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grpSp>
        <p:nvGrpSpPr>
          <p:cNvPr id="24" name="Group 23"/>
          <p:cNvGrpSpPr>
            <a:grpSpLocks noChangeAspect="1"/>
          </p:cNvGrpSpPr>
          <p:nvPr userDrawn="1"/>
        </p:nvGrpSpPr>
        <p:grpSpPr>
          <a:xfrm>
            <a:off x="-14794" y="-63196"/>
            <a:ext cx="3458895" cy="3490307"/>
            <a:chOff x="0" y="-350837"/>
            <a:chExt cx="1358900" cy="1371600"/>
          </a:xfrm>
          <a:solidFill>
            <a:schemeClr val="tx2"/>
          </a:solidFill>
        </p:grpSpPr>
        <p:sp>
          <p:nvSpPr>
            <p:cNvPr id="25" name="Freeform 24"/>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FCD800"/>
                </a:solidFill>
              </a:endParaRPr>
            </a:p>
          </p:txBody>
        </p:sp>
        <p:sp>
          <p:nvSpPr>
            <p:cNvPr id="26" name="Freeform 25"/>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FCD800"/>
                </a:solidFill>
              </a:endParaRPr>
            </a:p>
          </p:txBody>
        </p:sp>
      </p:grpSp>
      <p:sp>
        <p:nvSpPr>
          <p:cNvPr id="11" name="Rectangle 10"/>
          <p:cNvSpPr/>
          <p:nvPr userDrawn="1"/>
        </p:nvSpPr>
        <p:spPr>
          <a:xfrm rot="10800000">
            <a:off x="-1" y="-1"/>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
        <p:nvSpPr>
          <p:cNvPr id="12" name="Rectangle 11"/>
          <p:cNvSpPr/>
          <p:nvPr userDrawn="1"/>
        </p:nvSpPr>
        <p:spPr>
          <a:xfrm rot="16200000">
            <a:off x="8669314"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
        <p:nvSpPr>
          <p:cNvPr id="15"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6"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Rectangle 12"/>
          <p:cNvSpPr/>
          <p:nvPr userDrawn="1"/>
        </p:nvSpPr>
        <p:spPr>
          <a:xfrm rot="16200000">
            <a:off x="-3350108"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Tree>
    <p:extLst>
      <p:ext uri="{BB962C8B-B14F-4D97-AF65-F5344CB8AC3E}">
        <p14:creationId xmlns:p14="http://schemas.microsoft.com/office/powerpoint/2010/main" val="4454201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Yellow Subsection Breaker">
    <p:bg>
      <p:bgPr>
        <a:solidFill>
          <a:schemeClr val="bg1"/>
        </a:solidFill>
        <a:effectLst/>
      </p:bgPr>
    </p:bg>
    <p:spTree>
      <p:nvGrpSpPr>
        <p:cNvPr id="1" name=""/>
        <p:cNvGrpSpPr/>
        <p:nvPr/>
      </p:nvGrpSpPr>
      <p:grpSpPr>
        <a:xfrm>
          <a:off x="0" y="0"/>
          <a:ext cx="0" cy="0"/>
          <a:chOff x="0" y="0"/>
          <a:chExt cx="0" cy="0"/>
        </a:xfrm>
      </p:grpSpPr>
      <p:sp>
        <p:nvSpPr>
          <p:cNvPr id="40" name="Rectangle 39"/>
          <p:cNvSpPr/>
          <p:nvPr userDrawn="1"/>
        </p:nvSpPr>
        <p:spPr>
          <a:xfrm>
            <a:off x="187373" y="179389"/>
            <a:ext cx="11817252" cy="6492875"/>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sp>
        <p:nvSpPr>
          <p:cNvPr id="22"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23"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4"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25"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6" name="Freeform 25"/>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7"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8"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9"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0"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1"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2" name="Rectangle 12"/>
            <p:cNvSpPr>
              <a:spLocks noChangeArrowheads="1"/>
            </p:cNvSpPr>
            <p:nvPr userDrawn="1"/>
          </p:nvSpPr>
          <p:spPr bwMode="auto">
            <a:xfrm>
              <a:off x="3686" y="2142"/>
              <a:ext cx="106" cy="472"/>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3"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4"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5"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6"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7"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8"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9"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grpSp>
    </p:spTree>
    <p:extLst>
      <p:ext uri="{BB962C8B-B14F-4D97-AF65-F5344CB8AC3E}">
        <p14:creationId xmlns:p14="http://schemas.microsoft.com/office/powerpoint/2010/main" val="42802119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Yellow Logo Transition">
    <p:bg>
      <p:bgPr>
        <a:solidFill>
          <a:schemeClr val="bg1"/>
        </a:solidFill>
        <a:effectLst/>
      </p:bgPr>
    </p:bg>
    <p:spTree>
      <p:nvGrpSpPr>
        <p:cNvPr id="1" name=""/>
        <p:cNvGrpSpPr/>
        <p:nvPr/>
      </p:nvGrpSpPr>
      <p:grpSpPr>
        <a:xfrm>
          <a:off x="0" y="0"/>
          <a:ext cx="0" cy="0"/>
          <a:chOff x="0" y="0"/>
          <a:chExt cx="0" cy="0"/>
        </a:xfrm>
      </p:grpSpPr>
      <p:sp>
        <p:nvSpPr>
          <p:cNvPr id="52" name="Rectangle 51"/>
          <p:cNvSpPr/>
          <p:nvPr userDrawn="1"/>
        </p:nvSpPr>
        <p:spPr>
          <a:xfrm>
            <a:off x="187373" y="179389"/>
            <a:ext cx="11817252" cy="6492875"/>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sp>
        <p:nvSpPr>
          <p:cNvPr id="3" name="Text Placeholder 2"/>
          <p:cNvSpPr>
            <a:spLocks noGrp="1"/>
          </p:cNvSpPr>
          <p:nvPr>
            <p:ph type="body" idx="1"/>
          </p:nvPr>
        </p:nvSpPr>
        <p:spPr>
          <a:xfrm>
            <a:off x="919240"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22"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3" name="Freeform 22"/>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4"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5"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6"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7"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8"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9" name="Rectangle 12"/>
            <p:cNvSpPr>
              <a:spLocks noChangeArrowheads="1"/>
            </p:cNvSpPr>
            <p:nvPr userDrawn="1"/>
          </p:nvSpPr>
          <p:spPr bwMode="auto">
            <a:xfrm>
              <a:off x="3686" y="2142"/>
              <a:ext cx="106" cy="472"/>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0"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1"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2"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3"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4"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5"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6"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grpSp>
    </p:spTree>
    <p:extLst>
      <p:ext uri="{BB962C8B-B14F-4D97-AF65-F5344CB8AC3E}">
        <p14:creationId xmlns:p14="http://schemas.microsoft.com/office/powerpoint/2010/main" val="26656458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TU Watermark">
    <p:spTree>
      <p:nvGrpSpPr>
        <p:cNvPr id="1" name=""/>
        <p:cNvGrpSpPr/>
        <p:nvPr/>
      </p:nvGrpSpPr>
      <p:grpSpPr>
        <a:xfrm>
          <a:off x="0" y="0"/>
          <a:ext cx="0" cy="0"/>
          <a:chOff x="0" y="0"/>
          <a:chExt cx="0" cy="0"/>
        </a:xfrm>
      </p:grpSpPr>
      <p:grpSp>
        <p:nvGrpSpPr>
          <p:cNvPr id="5" name="Group 4"/>
          <p:cNvGrpSpPr>
            <a:grpSpLocks noChangeAspect="1"/>
          </p:cNvGrpSpPr>
          <p:nvPr userDrawn="1"/>
        </p:nvGrpSpPr>
        <p:grpSpPr>
          <a:xfrm>
            <a:off x="183141" y="-2535969"/>
            <a:ext cx="11825720" cy="11933114"/>
            <a:chOff x="0" y="-350837"/>
            <a:chExt cx="1358900" cy="1371600"/>
          </a:xfrm>
          <a:solidFill>
            <a:srgbClr val="EBEBEB"/>
          </a:solidFill>
        </p:grpSpPr>
        <p:sp>
          <p:nvSpPr>
            <p:cNvPr id="7" name="Freeform 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8" name="Freeform 7"/>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Tree>
    <p:extLst>
      <p:ext uri="{BB962C8B-B14F-4D97-AF65-F5344CB8AC3E}">
        <p14:creationId xmlns:p14="http://schemas.microsoft.com/office/powerpoint/2010/main" val="33828536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7104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nspiring sales reps">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914400" y="2232662"/>
            <a:ext cx="10353522" cy="1500187"/>
          </a:xfrm>
        </p:spPr>
        <p:txBody>
          <a:bodyPr anchor="t">
            <a:noAutofit/>
          </a:bodyPr>
          <a:lstStyle>
            <a:lvl1pPr marL="0" indent="0" algn="l">
              <a:buNone/>
              <a:defRPr sz="4300">
                <a:solidFill>
                  <a:srgbClr val="000000"/>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pic>
        <p:nvPicPr>
          <p:cNvPr id="3" name="Picture 2" descr="TULogo_blue.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18805" y="369816"/>
            <a:ext cx="1182624" cy="308717"/>
          </a:xfrm>
          <a:prstGeom prst="rect">
            <a:avLst/>
          </a:prstGeom>
        </p:spPr>
      </p:pic>
    </p:spTree>
    <p:extLst>
      <p:ext uri="{BB962C8B-B14F-4D97-AF65-F5344CB8AC3E}">
        <p14:creationId xmlns:p14="http://schemas.microsoft.com/office/powerpoint/2010/main" val="2050618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hite/Blue">
    <p:spTree>
      <p:nvGrpSpPr>
        <p:cNvPr id="1" name=""/>
        <p:cNvGrpSpPr/>
        <p:nvPr/>
      </p:nvGrpSpPr>
      <p:grpSpPr>
        <a:xfrm>
          <a:off x="0" y="0"/>
          <a:ext cx="0" cy="0"/>
          <a:chOff x="0" y="0"/>
          <a:chExt cx="0" cy="0"/>
        </a:xfrm>
      </p:grpSpPr>
      <p:grpSp>
        <p:nvGrpSpPr>
          <p:cNvPr id="26" name="Group 25"/>
          <p:cNvGrpSpPr>
            <a:grpSpLocks noChangeAspect="1"/>
          </p:cNvGrpSpPr>
          <p:nvPr userDrawn="1"/>
        </p:nvGrpSpPr>
        <p:grpSpPr>
          <a:xfrm>
            <a:off x="7842176" y="2582335"/>
            <a:ext cx="5157544" cy="5204386"/>
            <a:chOff x="0" y="-350837"/>
            <a:chExt cx="1358900" cy="1371600"/>
          </a:xfrm>
          <a:solidFill>
            <a:srgbClr val="00A6CA"/>
          </a:solidFill>
        </p:grpSpPr>
        <p:sp>
          <p:nvSpPr>
            <p:cNvPr id="27" name="Freeform 2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9" name="Freeform 28"/>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4" name="Title 1"/>
          <p:cNvSpPr>
            <a:spLocks noGrp="1"/>
          </p:cNvSpPr>
          <p:nvPr>
            <p:ph type="ctrTitle"/>
          </p:nvPr>
        </p:nvSpPr>
        <p:spPr bwMode="black">
          <a:xfrm>
            <a:off x="609759" y="3086100"/>
            <a:ext cx="10358967" cy="474662"/>
          </a:xfrm>
          <a:prstGeom prst="rect">
            <a:avLst/>
          </a:prstGeom>
        </p:spPr>
        <p:txBody>
          <a:bodyPr>
            <a:noAutofit/>
          </a:bodyPr>
          <a:lstStyle>
            <a:lvl1pPr>
              <a:defRPr sz="3200">
                <a:solidFill>
                  <a:srgbClr val="000000"/>
                </a:solidFill>
              </a:defRPr>
            </a:lvl1pPr>
          </a:lstStyle>
          <a:p>
            <a:r>
              <a:rPr lang="en-US"/>
              <a:t>Click to edit Master title style</a:t>
            </a:r>
          </a:p>
        </p:txBody>
      </p:sp>
      <p:sp>
        <p:nvSpPr>
          <p:cNvPr id="28" name="Text Placeholder 4"/>
          <p:cNvSpPr>
            <a:spLocks noGrp="1"/>
          </p:cNvSpPr>
          <p:nvPr>
            <p:ph type="body" sz="quarter" idx="11"/>
          </p:nvPr>
        </p:nvSpPr>
        <p:spPr>
          <a:xfrm>
            <a:off x="609759" y="5970317"/>
            <a:ext cx="7443374" cy="246221"/>
          </a:xfrm>
          <a:prstGeom prst="rect">
            <a:avLst/>
          </a:prstGeom>
        </p:spPr>
        <p:txBody>
          <a:bodyPr>
            <a:noAutofit/>
          </a:bodyPr>
          <a:lstStyle>
            <a:lvl1pPr marL="0" indent="0">
              <a:buNone/>
              <a:defRPr sz="1800" cap="all" baseline="0">
                <a:solidFill>
                  <a:schemeClr val="tx1"/>
                </a:solidFill>
              </a:defRPr>
            </a:lvl1pPr>
          </a:lstStyle>
          <a:p>
            <a:pPr lvl="0"/>
            <a:r>
              <a:rPr lang="en-US"/>
              <a:t>Click to edit Master text styles</a:t>
            </a:r>
          </a:p>
        </p:txBody>
      </p:sp>
      <p:sp>
        <p:nvSpPr>
          <p:cNvPr id="6" name="Text Placeholder 5"/>
          <p:cNvSpPr>
            <a:spLocks noGrp="1"/>
          </p:cNvSpPr>
          <p:nvPr>
            <p:ph type="body" sz="quarter" idx="12"/>
          </p:nvPr>
        </p:nvSpPr>
        <p:spPr>
          <a:xfrm>
            <a:off x="609759" y="3738710"/>
            <a:ext cx="7441258" cy="1829393"/>
          </a:xfrm>
        </p:spPr>
        <p:txBody>
          <a:bodyPr>
            <a:noAutofit/>
          </a:bodyPr>
          <a:lstStyle>
            <a:lvl1pPr marL="0" indent="0">
              <a:buNone/>
              <a:defRPr sz="2000"/>
            </a:lvl1pPr>
            <a:lvl2pPr marL="169863" indent="0">
              <a:buNone/>
              <a:defRPr sz="2000"/>
            </a:lvl2pPr>
            <a:lvl3pPr marL="398463" indent="0">
              <a:buNone/>
              <a:defRPr sz="2000"/>
            </a:lvl3pPr>
            <a:lvl4pPr marL="576263" indent="0">
              <a:buNone/>
              <a:defRPr sz="2000"/>
            </a:lvl4pPr>
            <a:lvl5pPr marL="804863" indent="0">
              <a:buNone/>
              <a:defRPr sz="2000"/>
            </a:lvl5pPr>
          </a:lstStyle>
          <a:p>
            <a:pPr lvl="0"/>
            <a:r>
              <a:rPr lang="en-US"/>
              <a:t>Click to edit Master text styles</a:t>
            </a:r>
          </a:p>
        </p:txBody>
      </p:sp>
      <p:grpSp>
        <p:nvGrpSpPr>
          <p:cNvPr id="30" name="Group 4"/>
          <p:cNvGrpSpPr>
            <a:grpSpLocks noChangeAspect="1"/>
          </p:cNvGrpSpPr>
          <p:nvPr userDrawn="1"/>
        </p:nvGrpSpPr>
        <p:grpSpPr bwMode="auto">
          <a:xfrm>
            <a:off x="609759" y="1350033"/>
            <a:ext cx="1858586" cy="485325"/>
            <a:chOff x="44" y="1156"/>
            <a:chExt cx="5628" cy="1470"/>
          </a:xfrm>
          <a:solidFill>
            <a:schemeClr val="tx2"/>
          </a:solidFill>
        </p:grpSpPr>
        <p:sp>
          <p:nvSpPr>
            <p:cNvPr id="31" name="Freeform 30"/>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31"/>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32"/>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33"/>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34"/>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35"/>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Rectangle 36"/>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37"/>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38"/>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39"/>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Freeform 40"/>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Freeform 41"/>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Freeform 42"/>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Freeform 43"/>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41057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7452AE-41CB-4546-89EE-2F1849866644}"/>
              </a:ext>
            </a:extLst>
          </p:cNvPr>
          <p:cNvSpPr>
            <a:spLocks noGrp="1"/>
          </p:cNvSpPr>
          <p:nvPr>
            <p:ph type="title"/>
          </p:nvPr>
        </p:nvSpPr>
        <p:spPr>
          <a:xfrm>
            <a:off x="600937" y="515382"/>
            <a:ext cx="11078289" cy="1325563"/>
          </a:xfrm>
        </p:spPr>
        <p:txBody>
          <a:bodyPr/>
          <a:lstStyle/>
          <a:p>
            <a:r>
              <a:rPr lang="en-US" dirty="0"/>
              <a:t>Click to edit Master title style</a:t>
            </a:r>
          </a:p>
        </p:txBody>
      </p:sp>
      <p:sp>
        <p:nvSpPr>
          <p:cNvPr id="8" name="Content Placeholder 2">
            <a:extLst>
              <a:ext uri="{FF2B5EF4-FFF2-40B4-BE49-F238E27FC236}">
                <a16:creationId xmlns:a16="http://schemas.microsoft.com/office/drawing/2014/main" id="{B4638DC7-E119-3A49-8DD3-28590FF4E261}"/>
              </a:ext>
            </a:extLst>
          </p:cNvPr>
          <p:cNvSpPr>
            <a:spLocks noGrp="1"/>
          </p:cNvSpPr>
          <p:nvPr>
            <p:ph idx="1"/>
          </p:nvPr>
        </p:nvSpPr>
        <p:spPr>
          <a:xfrm>
            <a:off x="600937" y="2044504"/>
            <a:ext cx="11078289" cy="400460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38">
            <a:extLst>
              <a:ext uri="{FF2B5EF4-FFF2-40B4-BE49-F238E27FC236}">
                <a16:creationId xmlns:a16="http://schemas.microsoft.com/office/drawing/2014/main" id="{203171F1-670C-FA49-979C-F6826651761B}"/>
              </a:ext>
            </a:extLst>
          </p:cNvPr>
          <p:cNvSpPr>
            <a:spLocks noChangeArrowheads="1"/>
          </p:cNvSpPr>
          <p:nvPr userDrawn="1"/>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tx1"/>
                </a:solidFill>
                <a:latin typeface="Arial" panose="020B0604020202020204" pitchFamily="34" charset="0"/>
                <a:cs typeface="Arial" panose="020B0604020202020204" pitchFamily="34" charset="0"/>
              </a:rPr>
              <a:t>© 2022 TransUnion LLC All Rights</a:t>
            </a:r>
            <a:r>
              <a:rPr lang="en-US" sz="1100" baseline="0" dirty="0">
                <a:solidFill>
                  <a:schemeClr val="tx1"/>
                </a:solidFill>
                <a:latin typeface="Arial" panose="020B0604020202020204" pitchFamily="34" charset="0"/>
                <a:cs typeface="Arial" panose="020B0604020202020204" pitchFamily="34" charset="0"/>
              </a:rPr>
              <a:t> Reserved</a:t>
            </a:r>
            <a:r>
              <a:rPr lang="en-US" sz="1100" dirty="0">
                <a:solidFill>
                  <a:schemeClr val="tx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tx1"/>
                </a:solidFill>
                <a:latin typeface="Arial" panose="020B0604020202020204" pitchFamily="34" charset="0"/>
                <a:ea typeface="+mn-ea"/>
                <a:cs typeface="Arial" panose="020B0604020202020204" pitchFamily="34" charset="0"/>
              </a:rPr>
              <a:pPr algn="l" eaLnBrk="0" hangingPunct="0"/>
              <a:t>‹#›</a:t>
            </a:fld>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8562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Blue/Yellow">
    <p:spTree>
      <p:nvGrpSpPr>
        <p:cNvPr id="1" name=""/>
        <p:cNvGrpSpPr/>
        <p:nvPr/>
      </p:nvGrpSpPr>
      <p:grpSpPr>
        <a:xfrm>
          <a:off x="0" y="0"/>
          <a:ext cx="0" cy="0"/>
          <a:chOff x="0" y="0"/>
          <a:chExt cx="0" cy="0"/>
        </a:xfrm>
      </p:grpSpPr>
      <p:sp>
        <p:nvSpPr>
          <p:cNvPr id="23" name="Rectangle 22"/>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grpSp>
        <p:nvGrpSpPr>
          <p:cNvPr id="26" name="Group 25"/>
          <p:cNvGrpSpPr>
            <a:grpSpLocks noChangeAspect="1"/>
          </p:cNvGrpSpPr>
          <p:nvPr userDrawn="1"/>
        </p:nvGrpSpPr>
        <p:grpSpPr>
          <a:xfrm>
            <a:off x="7654754" y="2402948"/>
            <a:ext cx="5157544" cy="5204386"/>
            <a:chOff x="0" y="-350837"/>
            <a:chExt cx="1358900" cy="1371600"/>
          </a:xfrm>
          <a:solidFill>
            <a:schemeClr val="accent2"/>
          </a:solidFill>
        </p:grpSpPr>
        <p:sp>
          <p:nvSpPr>
            <p:cNvPr id="27" name="Freeform 2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9" name="Freeform 28"/>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4" name="Title 1"/>
          <p:cNvSpPr>
            <a:spLocks noGrp="1"/>
          </p:cNvSpPr>
          <p:nvPr>
            <p:ph type="ctrTitle"/>
          </p:nvPr>
        </p:nvSpPr>
        <p:spPr bwMode="black">
          <a:xfrm>
            <a:off x="609759" y="3086100"/>
            <a:ext cx="10358967" cy="474662"/>
          </a:xfrm>
          <a:prstGeom prst="rect">
            <a:avLst/>
          </a:prstGeom>
        </p:spPr>
        <p:txBody>
          <a:bodyPr>
            <a:noAutofit/>
          </a:bodyPr>
          <a:lstStyle>
            <a:lvl1pPr>
              <a:defRPr sz="3200">
                <a:solidFill>
                  <a:srgbClr val="000000"/>
                </a:solidFill>
              </a:defRPr>
            </a:lvl1pPr>
          </a:lstStyle>
          <a:p>
            <a:r>
              <a:rPr lang="en-US"/>
              <a:t>Click to edit Master title style</a:t>
            </a:r>
          </a:p>
        </p:txBody>
      </p:sp>
      <p:sp>
        <p:nvSpPr>
          <p:cNvPr id="28" name="Text Placeholder 4"/>
          <p:cNvSpPr>
            <a:spLocks noGrp="1"/>
          </p:cNvSpPr>
          <p:nvPr>
            <p:ph type="body" sz="quarter" idx="11"/>
          </p:nvPr>
        </p:nvSpPr>
        <p:spPr>
          <a:xfrm>
            <a:off x="609759" y="5970317"/>
            <a:ext cx="7443374" cy="246221"/>
          </a:xfrm>
          <a:prstGeom prst="rect">
            <a:avLst/>
          </a:prstGeom>
        </p:spPr>
        <p:txBody>
          <a:bodyPr>
            <a:noAutofit/>
          </a:bodyPr>
          <a:lstStyle>
            <a:lvl1pPr marL="0" indent="0">
              <a:buNone/>
              <a:defRPr sz="1800" cap="all" baseline="0">
                <a:solidFill>
                  <a:schemeClr val="tx1"/>
                </a:solidFill>
              </a:defRPr>
            </a:lvl1pPr>
          </a:lstStyle>
          <a:p>
            <a:pPr lvl="0"/>
            <a:r>
              <a:rPr lang="en-US"/>
              <a:t>Edit Master text styles</a:t>
            </a:r>
          </a:p>
        </p:txBody>
      </p:sp>
      <p:sp>
        <p:nvSpPr>
          <p:cNvPr id="6" name="Text Placeholder 5"/>
          <p:cNvSpPr>
            <a:spLocks noGrp="1"/>
          </p:cNvSpPr>
          <p:nvPr>
            <p:ph type="body" sz="quarter" idx="12"/>
          </p:nvPr>
        </p:nvSpPr>
        <p:spPr>
          <a:xfrm>
            <a:off x="609759" y="3738710"/>
            <a:ext cx="7441258" cy="1829393"/>
          </a:xfrm>
        </p:spPr>
        <p:txBody>
          <a:bodyPr>
            <a:noAutofit/>
          </a:bodyPr>
          <a:lstStyle>
            <a:lvl1pPr marL="0" indent="0">
              <a:buNone/>
              <a:defRPr sz="2000"/>
            </a:lvl1pPr>
            <a:lvl2pPr marL="169863" indent="0">
              <a:buNone/>
              <a:defRPr sz="2000"/>
            </a:lvl2pPr>
            <a:lvl3pPr marL="398463" indent="0">
              <a:buNone/>
              <a:defRPr sz="2000"/>
            </a:lvl3pPr>
            <a:lvl4pPr marL="576263" indent="0">
              <a:buNone/>
              <a:defRPr sz="2000"/>
            </a:lvl4pPr>
            <a:lvl5pPr marL="804863" indent="0">
              <a:buNone/>
              <a:defRPr sz="2000"/>
            </a:lvl5pPr>
          </a:lstStyle>
          <a:p>
            <a:pPr lvl="0"/>
            <a:r>
              <a:rPr lang="en-US"/>
              <a:t>Edit Master text styles</a:t>
            </a:r>
          </a:p>
        </p:txBody>
      </p:sp>
      <p:grpSp>
        <p:nvGrpSpPr>
          <p:cNvPr id="30" name="Group 4"/>
          <p:cNvGrpSpPr>
            <a:grpSpLocks noChangeAspect="1"/>
          </p:cNvGrpSpPr>
          <p:nvPr userDrawn="1"/>
        </p:nvGrpSpPr>
        <p:grpSpPr bwMode="auto">
          <a:xfrm>
            <a:off x="609759" y="1350033"/>
            <a:ext cx="1858586" cy="485325"/>
            <a:chOff x="44" y="1156"/>
            <a:chExt cx="5628" cy="1470"/>
          </a:xfrm>
          <a:solidFill>
            <a:schemeClr val="tx2"/>
          </a:solidFill>
        </p:grpSpPr>
        <p:sp>
          <p:nvSpPr>
            <p:cNvPr id="31" name="Freeform 30"/>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31"/>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32"/>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33"/>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34"/>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35"/>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Rectangle 36"/>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37"/>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38"/>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39"/>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Freeform 40"/>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Freeform 41"/>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Freeform 42"/>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Freeform 43"/>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4" name="Rectangle 23"/>
          <p:cNvSpPr/>
          <p:nvPr userDrawn="1"/>
        </p:nvSpPr>
        <p:spPr>
          <a:xfrm>
            <a:off x="1" y="6678614"/>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25" name="Rectangle 24"/>
          <p:cNvSpPr/>
          <p:nvPr userDrawn="1"/>
        </p:nvSpPr>
        <p:spPr>
          <a:xfrm rot="16200000">
            <a:off x="8669263" y="3335317"/>
            <a:ext cx="6858002" cy="1873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grpSp>
        <p:nvGrpSpPr>
          <p:cNvPr id="45" name="Group 4"/>
          <p:cNvGrpSpPr>
            <a:grpSpLocks noChangeAspect="1"/>
          </p:cNvGrpSpPr>
          <p:nvPr userDrawn="1"/>
        </p:nvGrpSpPr>
        <p:grpSpPr bwMode="auto">
          <a:xfrm>
            <a:off x="762198" y="1502433"/>
            <a:ext cx="1858586" cy="485325"/>
            <a:chOff x="44" y="1156"/>
            <a:chExt cx="5628" cy="1470"/>
          </a:xfrm>
          <a:solidFill>
            <a:schemeClr val="bg1"/>
          </a:solidFill>
        </p:grpSpPr>
        <p:sp>
          <p:nvSpPr>
            <p:cNvPr id="46" name="Freeform 45"/>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Freeform 46"/>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7"/>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48"/>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49"/>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0"/>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Rectangle 51"/>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2"/>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4" name="Freeform 53"/>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5" name="Freeform 54"/>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55"/>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56"/>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8" name="Freeform 57"/>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9" name="Freeform 58"/>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87983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White/Blue">
    <p:spTree>
      <p:nvGrpSpPr>
        <p:cNvPr id="1" name=""/>
        <p:cNvGrpSpPr/>
        <p:nvPr/>
      </p:nvGrpSpPr>
      <p:grpSpPr>
        <a:xfrm>
          <a:off x="0" y="0"/>
          <a:ext cx="0" cy="0"/>
          <a:chOff x="0" y="0"/>
          <a:chExt cx="0" cy="0"/>
        </a:xfrm>
      </p:grpSpPr>
      <p:grpSp>
        <p:nvGrpSpPr>
          <p:cNvPr id="26" name="Group 25"/>
          <p:cNvGrpSpPr>
            <a:grpSpLocks noChangeAspect="1"/>
          </p:cNvGrpSpPr>
          <p:nvPr userDrawn="1"/>
        </p:nvGrpSpPr>
        <p:grpSpPr>
          <a:xfrm>
            <a:off x="7842176" y="2582335"/>
            <a:ext cx="5157544" cy="5204386"/>
            <a:chOff x="0" y="-350837"/>
            <a:chExt cx="1358900" cy="1371600"/>
          </a:xfrm>
          <a:solidFill>
            <a:srgbClr val="00A6CA"/>
          </a:solidFill>
        </p:grpSpPr>
        <p:sp>
          <p:nvSpPr>
            <p:cNvPr id="27" name="Freeform 2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9" name="Freeform 28"/>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4" name="Title 1"/>
          <p:cNvSpPr>
            <a:spLocks noGrp="1"/>
          </p:cNvSpPr>
          <p:nvPr>
            <p:ph type="ctrTitle"/>
          </p:nvPr>
        </p:nvSpPr>
        <p:spPr bwMode="black">
          <a:xfrm>
            <a:off x="609759" y="3086100"/>
            <a:ext cx="10358967" cy="474662"/>
          </a:xfrm>
          <a:prstGeom prst="rect">
            <a:avLst/>
          </a:prstGeom>
        </p:spPr>
        <p:txBody>
          <a:bodyPr>
            <a:noAutofit/>
          </a:bodyPr>
          <a:lstStyle>
            <a:lvl1pPr>
              <a:defRPr sz="3200">
                <a:solidFill>
                  <a:srgbClr val="000000"/>
                </a:solidFill>
              </a:defRPr>
            </a:lvl1pPr>
          </a:lstStyle>
          <a:p>
            <a:r>
              <a:rPr lang="en-US"/>
              <a:t>Click to edit Master title style</a:t>
            </a:r>
          </a:p>
        </p:txBody>
      </p:sp>
      <p:sp>
        <p:nvSpPr>
          <p:cNvPr id="28" name="Text Placeholder 4"/>
          <p:cNvSpPr>
            <a:spLocks noGrp="1"/>
          </p:cNvSpPr>
          <p:nvPr>
            <p:ph type="body" sz="quarter" idx="11"/>
          </p:nvPr>
        </p:nvSpPr>
        <p:spPr>
          <a:xfrm>
            <a:off x="609759" y="5970317"/>
            <a:ext cx="7443374" cy="246221"/>
          </a:xfrm>
          <a:prstGeom prst="rect">
            <a:avLst/>
          </a:prstGeom>
        </p:spPr>
        <p:txBody>
          <a:bodyPr>
            <a:noAutofit/>
          </a:bodyPr>
          <a:lstStyle>
            <a:lvl1pPr marL="0" indent="0">
              <a:buNone/>
              <a:defRPr sz="1800" cap="all" baseline="0">
                <a:solidFill>
                  <a:schemeClr val="tx1"/>
                </a:solidFill>
              </a:defRPr>
            </a:lvl1pPr>
          </a:lstStyle>
          <a:p>
            <a:pPr lvl="0"/>
            <a:r>
              <a:rPr lang="en-US"/>
              <a:t>Edit Master text styles</a:t>
            </a:r>
          </a:p>
        </p:txBody>
      </p:sp>
      <p:sp>
        <p:nvSpPr>
          <p:cNvPr id="6" name="Text Placeholder 5"/>
          <p:cNvSpPr>
            <a:spLocks noGrp="1"/>
          </p:cNvSpPr>
          <p:nvPr>
            <p:ph type="body" sz="quarter" idx="12"/>
          </p:nvPr>
        </p:nvSpPr>
        <p:spPr>
          <a:xfrm>
            <a:off x="609759" y="3738710"/>
            <a:ext cx="7441258" cy="1829393"/>
          </a:xfrm>
        </p:spPr>
        <p:txBody>
          <a:bodyPr>
            <a:noAutofit/>
          </a:bodyPr>
          <a:lstStyle>
            <a:lvl1pPr marL="0" indent="0">
              <a:buNone/>
              <a:defRPr sz="2000"/>
            </a:lvl1pPr>
            <a:lvl2pPr marL="169863" indent="0">
              <a:buNone/>
              <a:defRPr sz="2000"/>
            </a:lvl2pPr>
            <a:lvl3pPr marL="398463" indent="0">
              <a:buNone/>
              <a:defRPr sz="2000"/>
            </a:lvl3pPr>
            <a:lvl4pPr marL="576263" indent="0">
              <a:buNone/>
              <a:defRPr sz="2000"/>
            </a:lvl4pPr>
            <a:lvl5pPr marL="804863" indent="0">
              <a:buNone/>
              <a:defRPr sz="2000"/>
            </a:lvl5pPr>
          </a:lstStyle>
          <a:p>
            <a:pPr lvl="0"/>
            <a:r>
              <a:rPr lang="en-US"/>
              <a:t>Edit Master text styles</a:t>
            </a:r>
          </a:p>
        </p:txBody>
      </p:sp>
      <p:grpSp>
        <p:nvGrpSpPr>
          <p:cNvPr id="30" name="Group 4"/>
          <p:cNvGrpSpPr>
            <a:grpSpLocks noChangeAspect="1"/>
          </p:cNvGrpSpPr>
          <p:nvPr userDrawn="1"/>
        </p:nvGrpSpPr>
        <p:grpSpPr bwMode="auto">
          <a:xfrm>
            <a:off x="609759" y="1350033"/>
            <a:ext cx="1858586" cy="485325"/>
            <a:chOff x="44" y="1156"/>
            <a:chExt cx="5628" cy="1470"/>
          </a:xfrm>
          <a:solidFill>
            <a:schemeClr val="tx2"/>
          </a:solidFill>
        </p:grpSpPr>
        <p:sp>
          <p:nvSpPr>
            <p:cNvPr id="31" name="Freeform 30"/>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31"/>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32"/>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33"/>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34"/>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35"/>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Rectangle 36"/>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37"/>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38"/>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39"/>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Freeform 40"/>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Freeform 41"/>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Freeform 42"/>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Freeform 43"/>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133408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2"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0464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5354602"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0"/>
          </p:nvPr>
        </p:nvSpPr>
        <p:spPr>
          <a:xfrm>
            <a:off x="6226210" y="1600201"/>
            <a:ext cx="5356191"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6532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5354602" cy="4506913"/>
          </a:xfrm>
          <a:prstGeom prst="rect">
            <a:avLst/>
          </a:prstGeom>
        </p:spPr>
        <p:txBody>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42733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4798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176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White Section Breaker">
    <p:spTree>
      <p:nvGrpSpPr>
        <p:cNvPr id="1" name=""/>
        <p:cNvGrpSpPr/>
        <p:nvPr/>
      </p:nvGrpSpPr>
      <p:grpSpPr>
        <a:xfrm>
          <a:off x="0" y="0"/>
          <a:ext cx="0" cy="0"/>
          <a:chOff x="0" y="0"/>
          <a:chExt cx="0" cy="0"/>
        </a:xfrm>
      </p:grpSpPr>
      <p:sp>
        <p:nvSpPr>
          <p:cNvPr id="16"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7"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grpSp>
        <p:nvGrpSpPr>
          <p:cNvPr id="18" name="Group 17"/>
          <p:cNvGrpSpPr>
            <a:grpSpLocks noChangeAspect="1"/>
          </p:cNvGrpSpPr>
          <p:nvPr userDrawn="1"/>
        </p:nvGrpSpPr>
        <p:grpSpPr>
          <a:xfrm>
            <a:off x="9268841" y="-179386"/>
            <a:ext cx="3458895" cy="3490307"/>
            <a:chOff x="0" y="-350837"/>
            <a:chExt cx="1358900" cy="1371600"/>
          </a:xfrm>
          <a:solidFill>
            <a:schemeClr val="tx2"/>
          </a:solidFill>
        </p:grpSpPr>
        <p:sp>
          <p:nvSpPr>
            <p:cNvPr id="19" name="Freeform 18"/>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0" name="Freeform 19"/>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Tree>
    <p:extLst>
      <p:ext uri="{BB962C8B-B14F-4D97-AF65-F5344CB8AC3E}">
        <p14:creationId xmlns:p14="http://schemas.microsoft.com/office/powerpoint/2010/main" val="4165512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White Sub-Section Breaker">
    <p:spTree>
      <p:nvGrpSpPr>
        <p:cNvPr id="1" name=""/>
        <p:cNvGrpSpPr/>
        <p:nvPr/>
      </p:nvGrpSpPr>
      <p:grpSpPr>
        <a:xfrm>
          <a:off x="0" y="0"/>
          <a:ext cx="0" cy="0"/>
          <a:chOff x="0" y="0"/>
          <a:chExt cx="0" cy="0"/>
        </a:xfrm>
      </p:grpSpPr>
      <p:sp>
        <p:nvSpPr>
          <p:cNvPr id="4"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5"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6"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grpSp>
        <p:nvGrpSpPr>
          <p:cNvPr id="23" name="Group 4"/>
          <p:cNvGrpSpPr>
            <a:grpSpLocks noChangeAspect="1"/>
          </p:cNvGrpSpPr>
          <p:nvPr userDrawn="1"/>
        </p:nvGrpSpPr>
        <p:grpSpPr bwMode="auto">
          <a:xfrm>
            <a:off x="10433650" y="380391"/>
            <a:ext cx="1148591" cy="299927"/>
            <a:chOff x="44" y="1156"/>
            <a:chExt cx="5628" cy="1470"/>
          </a:xfrm>
          <a:solidFill>
            <a:srgbClr val="00A6CA"/>
          </a:solidFill>
        </p:grpSpPr>
        <p:sp>
          <p:nvSpPr>
            <p:cNvPr id="24" name="Freeform 23"/>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594430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2"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91551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White Logo Transition">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918633"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grpSp>
        <p:nvGrpSpPr>
          <p:cNvPr id="21" name="Group 4"/>
          <p:cNvGrpSpPr>
            <a:grpSpLocks noChangeAspect="1"/>
          </p:cNvGrpSpPr>
          <p:nvPr userDrawn="1"/>
        </p:nvGrpSpPr>
        <p:grpSpPr bwMode="auto">
          <a:xfrm>
            <a:off x="10433650" y="380391"/>
            <a:ext cx="1148591" cy="299927"/>
            <a:chOff x="44" y="1156"/>
            <a:chExt cx="5628" cy="1470"/>
          </a:xfrm>
          <a:solidFill>
            <a:schemeClr val="tx2"/>
          </a:solidFill>
        </p:grpSpPr>
        <p:sp>
          <p:nvSpPr>
            <p:cNvPr id="22" name="Freeform 21"/>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799507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ue Section Breaker">
    <p:bg>
      <p:bgPr>
        <a:solidFill>
          <a:schemeClr val="bg1"/>
        </a:solidFill>
        <a:effectLst/>
      </p:bgPr>
    </p:bg>
    <p:spTree>
      <p:nvGrpSpPr>
        <p:cNvPr id="1" name=""/>
        <p:cNvGrpSpPr/>
        <p:nvPr/>
      </p:nvGrpSpPr>
      <p:grpSpPr>
        <a:xfrm>
          <a:off x="0" y="0"/>
          <a:ext cx="0" cy="0"/>
          <a:chOff x="0" y="0"/>
          <a:chExt cx="0" cy="0"/>
        </a:xfrm>
      </p:grpSpPr>
      <p:sp>
        <p:nvSpPr>
          <p:cNvPr id="27" name="Rectangle 26"/>
          <p:cNvSpPr/>
          <p:nvPr userDrawn="1"/>
        </p:nvSpPr>
        <p:spPr>
          <a:xfrm>
            <a:off x="187373" y="179389"/>
            <a:ext cx="11817253"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grpSp>
        <p:nvGrpSpPr>
          <p:cNvPr id="24" name="Group 23"/>
          <p:cNvGrpSpPr>
            <a:grpSpLocks noChangeAspect="1"/>
          </p:cNvGrpSpPr>
          <p:nvPr userDrawn="1"/>
        </p:nvGrpSpPr>
        <p:grpSpPr>
          <a:xfrm>
            <a:off x="9078632" y="1"/>
            <a:ext cx="3458895" cy="3490307"/>
            <a:chOff x="0" y="-350837"/>
            <a:chExt cx="1358900" cy="1371600"/>
          </a:xfrm>
          <a:solidFill>
            <a:srgbClr val="FCD800"/>
          </a:solidFill>
        </p:grpSpPr>
        <p:sp>
          <p:nvSpPr>
            <p:cNvPr id="25" name="Freeform 24"/>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6" name="Freeform 25"/>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11" name="Rectangle 10"/>
          <p:cNvSpPr/>
          <p:nvPr userDrawn="1"/>
        </p:nvSpPr>
        <p:spPr>
          <a:xfrm rot="10800000">
            <a:off x="-1" y="-1"/>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12" name="Rectangle 11"/>
          <p:cNvSpPr/>
          <p:nvPr userDrawn="1"/>
        </p:nvSpPr>
        <p:spPr>
          <a:xfrm rot="16200000">
            <a:off x="8669314"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15"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6"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7284268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ue Sub-Section Breaker">
    <p:spTree>
      <p:nvGrpSpPr>
        <p:cNvPr id="1" name=""/>
        <p:cNvGrpSpPr/>
        <p:nvPr/>
      </p:nvGrpSpPr>
      <p:grpSpPr>
        <a:xfrm>
          <a:off x="0" y="0"/>
          <a:ext cx="0" cy="0"/>
          <a:chOff x="0" y="0"/>
          <a:chExt cx="0" cy="0"/>
        </a:xfrm>
      </p:grpSpPr>
      <p:sp>
        <p:nvSpPr>
          <p:cNvPr id="41" name="Rectangle 40"/>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sp>
        <p:nvSpPr>
          <p:cNvPr id="23"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24"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25"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grpSp>
        <p:nvGrpSpPr>
          <p:cNvPr id="26"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7" name="Freeform 26"/>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4259240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ue Logo Transition">
    <p:spTree>
      <p:nvGrpSpPr>
        <p:cNvPr id="1" name=""/>
        <p:cNvGrpSpPr/>
        <p:nvPr/>
      </p:nvGrpSpPr>
      <p:grpSpPr>
        <a:xfrm>
          <a:off x="0" y="0"/>
          <a:ext cx="0" cy="0"/>
          <a:chOff x="0" y="0"/>
          <a:chExt cx="0" cy="0"/>
        </a:xfrm>
      </p:grpSpPr>
      <p:sp>
        <p:nvSpPr>
          <p:cNvPr id="37" name="Rectangle 36"/>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sp>
        <p:nvSpPr>
          <p:cNvPr id="4" name="Text Placeholder 2"/>
          <p:cNvSpPr>
            <a:spLocks noGrp="1"/>
          </p:cNvSpPr>
          <p:nvPr>
            <p:ph type="body" idx="1"/>
          </p:nvPr>
        </p:nvSpPr>
        <p:spPr bwMode="black">
          <a:xfrm>
            <a:off x="919240"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grpSp>
        <p:nvGrpSpPr>
          <p:cNvPr id="22"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3" name="Freeform 22"/>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4283352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ay Section Breaker">
    <p:bg>
      <p:bgPr>
        <a:solidFill>
          <a:schemeClr val="bg1"/>
        </a:solidFill>
        <a:effectLst/>
      </p:bgPr>
    </p:bg>
    <p:spTree>
      <p:nvGrpSpPr>
        <p:cNvPr id="1" name=""/>
        <p:cNvGrpSpPr/>
        <p:nvPr/>
      </p:nvGrpSpPr>
      <p:grpSpPr>
        <a:xfrm>
          <a:off x="0" y="0"/>
          <a:ext cx="0" cy="0"/>
          <a:chOff x="0" y="0"/>
          <a:chExt cx="0" cy="0"/>
        </a:xfrm>
      </p:grpSpPr>
      <p:sp>
        <p:nvSpPr>
          <p:cNvPr id="27" name="Rectangle 26"/>
          <p:cNvSpPr/>
          <p:nvPr userDrawn="1"/>
        </p:nvSpPr>
        <p:spPr>
          <a:xfrm>
            <a:off x="187375" y="23928"/>
            <a:ext cx="11817253" cy="6492875"/>
          </a:xfrm>
          <a:prstGeom prst="rect">
            <a:avLst/>
          </a:prstGeom>
          <a:solidFill>
            <a:srgbClr val="EBEBEB"/>
          </a:solidFill>
          <a:ln>
            <a:solidFill>
              <a:srgbClr val="EDEDE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grpSp>
        <p:nvGrpSpPr>
          <p:cNvPr id="24" name="Group 23"/>
          <p:cNvGrpSpPr>
            <a:grpSpLocks noChangeAspect="1"/>
          </p:cNvGrpSpPr>
          <p:nvPr userDrawn="1"/>
        </p:nvGrpSpPr>
        <p:grpSpPr>
          <a:xfrm>
            <a:off x="-14794" y="-63196"/>
            <a:ext cx="3458895" cy="3490307"/>
            <a:chOff x="0" y="-350837"/>
            <a:chExt cx="1358900" cy="1371600"/>
          </a:xfrm>
          <a:solidFill>
            <a:schemeClr val="tx2"/>
          </a:solidFill>
        </p:grpSpPr>
        <p:sp>
          <p:nvSpPr>
            <p:cNvPr id="25" name="Freeform 24"/>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FCD800"/>
                </a:solidFill>
              </a:endParaRPr>
            </a:p>
          </p:txBody>
        </p:sp>
        <p:sp>
          <p:nvSpPr>
            <p:cNvPr id="26" name="Freeform 25"/>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FCD800"/>
                </a:solidFill>
              </a:endParaRPr>
            </a:p>
          </p:txBody>
        </p:sp>
      </p:grpSp>
      <p:sp>
        <p:nvSpPr>
          <p:cNvPr id="11" name="Rectangle 10"/>
          <p:cNvSpPr/>
          <p:nvPr userDrawn="1"/>
        </p:nvSpPr>
        <p:spPr>
          <a:xfrm rot="10800000">
            <a:off x="-1" y="-1"/>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
        <p:nvSpPr>
          <p:cNvPr id="12" name="Rectangle 11"/>
          <p:cNvSpPr/>
          <p:nvPr userDrawn="1"/>
        </p:nvSpPr>
        <p:spPr>
          <a:xfrm rot="16200000">
            <a:off x="8669314"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
        <p:nvSpPr>
          <p:cNvPr id="15"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6"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13" name="Rectangle 12"/>
          <p:cNvSpPr/>
          <p:nvPr userDrawn="1"/>
        </p:nvSpPr>
        <p:spPr>
          <a:xfrm rot="16200000">
            <a:off x="-3350108"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Tree>
    <p:extLst>
      <p:ext uri="{BB962C8B-B14F-4D97-AF65-F5344CB8AC3E}">
        <p14:creationId xmlns:p14="http://schemas.microsoft.com/office/powerpoint/2010/main" val="6547497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ay Subsection Breaker">
    <p:bg>
      <p:bgPr>
        <a:solidFill>
          <a:schemeClr val="bg1"/>
        </a:solidFill>
        <a:effectLst/>
      </p:bgPr>
    </p:bg>
    <p:spTree>
      <p:nvGrpSpPr>
        <p:cNvPr id="1" name=""/>
        <p:cNvGrpSpPr/>
        <p:nvPr/>
      </p:nvGrpSpPr>
      <p:grpSpPr>
        <a:xfrm>
          <a:off x="0" y="0"/>
          <a:ext cx="0" cy="0"/>
          <a:chOff x="0" y="0"/>
          <a:chExt cx="0" cy="0"/>
        </a:xfrm>
      </p:grpSpPr>
      <p:sp>
        <p:nvSpPr>
          <p:cNvPr id="40" name="Rectangle 39"/>
          <p:cNvSpPr/>
          <p:nvPr userDrawn="1"/>
        </p:nvSpPr>
        <p:spPr>
          <a:xfrm>
            <a:off x="187373" y="179389"/>
            <a:ext cx="11817252" cy="6492875"/>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sp>
        <p:nvSpPr>
          <p:cNvPr id="22"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23"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24"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grpSp>
        <p:nvGrpSpPr>
          <p:cNvPr id="25"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6" name="Freeform 25"/>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7"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8"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9"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0"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1"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2" name="Rectangle 12"/>
            <p:cNvSpPr>
              <a:spLocks noChangeArrowheads="1"/>
            </p:cNvSpPr>
            <p:nvPr userDrawn="1"/>
          </p:nvSpPr>
          <p:spPr bwMode="auto">
            <a:xfrm>
              <a:off x="3686" y="2142"/>
              <a:ext cx="106" cy="472"/>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3"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4"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5"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6"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7"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8"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9"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grpSp>
    </p:spTree>
    <p:extLst>
      <p:ext uri="{BB962C8B-B14F-4D97-AF65-F5344CB8AC3E}">
        <p14:creationId xmlns:p14="http://schemas.microsoft.com/office/powerpoint/2010/main" val="41518938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ay Logo Transition">
    <p:bg>
      <p:bgPr>
        <a:solidFill>
          <a:schemeClr val="bg1"/>
        </a:solidFill>
        <a:effectLst/>
      </p:bgPr>
    </p:bg>
    <p:spTree>
      <p:nvGrpSpPr>
        <p:cNvPr id="1" name=""/>
        <p:cNvGrpSpPr/>
        <p:nvPr/>
      </p:nvGrpSpPr>
      <p:grpSpPr>
        <a:xfrm>
          <a:off x="0" y="0"/>
          <a:ext cx="0" cy="0"/>
          <a:chOff x="0" y="0"/>
          <a:chExt cx="0" cy="0"/>
        </a:xfrm>
      </p:grpSpPr>
      <p:sp>
        <p:nvSpPr>
          <p:cNvPr id="52" name="Rectangle 51"/>
          <p:cNvSpPr/>
          <p:nvPr userDrawn="1"/>
        </p:nvSpPr>
        <p:spPr>
          <a:xfrm>
            <a:off x="187373" y="179389"/>
            <a:ext cx="11817252" cy="6492875"/>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sp>
        <p:nvSpPr>
          <p:cNvPr id="3" name="Text Placeholder 2"/>
          <p:cNvSpPr>
            <a:spLocks noGrp="1"/>
          </p:cNvSpPr>
          <p:nvPr>
            <p:ph type="body" idx="1"/>
          </p:nvPr>
        </p:nvSpPr>
        <p:spPr>
          <a:xfrm>
            <a:off x="919240"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grpSp>
        <p:nvGrpSpPr>
          <p:cNvPr id="22"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3" name="Freeform 22"/>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4"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5"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6"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7"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8"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9" name="Rectangle 12"/>
            <p:cNvSpPr>
              <a:spLocks noChangeArrowheads="1"/>
            </p:cNvSpPr>
            <p:nvPr userDrawn="1"/>
          </p:nvSpPr>
          <p:spPr bwMode="auto">
            <a:xfrm>
              <a:off x="3686" y="2142"/>
              <a:ext cx="106" cy="472"/>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0"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1"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2"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3"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4"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5"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6"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grpSp>
    </p:spTree>
    <p:extLst>
      <p:ext uri="{BB962C8B-B14F-4D97-AF65-F5344CB8AC3E}">
        <p14:creationId xmlns:p14="http://schemas.microsoft.com/office/powerpoint/2010/main" val="20358273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TU Watermark">
    <p:spTree>
      <p:nvGrpSpPr>
        <p:cNvPr id="1" name=""/>
        <p:cNvGrpSpPr/>
        <p:nvPr/>
      </p:nvGrpSpPr>
      <p:grpSpPr>
        <a:xfrm>
          <a:off x="0" y="0"/>
          <a:ext cx="0" cy="0"/>
          <a:chOff x="0" y="0"/>
          <a:chExt cx="0" cy="0"/>
        </a:xfrm>
      </p:grpSpPr>
      <p:grpSp>
        <p:nvGrpSpPr>
          <p:cNvPr id="5" name="Group 4"/>
          <p:cNvGrpSpPr>
            <a:grpSpLocks noChangeAspect="1"/>
          </p:cNvGrpSpPr>
          <p:nvPr userDrawn="1"/>
        </p:nvGrpSpPr>
        <p:grpSpPr>
          <a:xfrm>
            <a:off x="183141" y="-2535969"/>
            <a:ext cx="11825720" cy="11933114"/>
            <a:chOff x="0" y="-350837"/>
            <a:chExt cx="1358900" cy="1371600"/>
          </a:xfrm>
          <a:solidFill>
            <a:srgbClr val="EBEBEB"/>
          </a:solidFill>
        </p:grpSpPr>
        <p:sp>
          <p:nvSpPr>
            <p:cNvPr id="7" name="Freeform 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8" name="Freeform 7"/>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Tree>
    <p:extLst>
      <p:ext uri="{BB962C8B-B14F-4D97-AF65-F5344CB8AC3E}">
        <p14:creationId xmlns:p14="http://schemas.microsoft.com/office/powerpoint/2010/main" val="6653155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8204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7452AE-41CB-4546-89EE-2F1849866644}"/>
              </a:ext>
            </a:extLst>
          </p:cNvPr>
          <p:cNvSpPr>
            <a:spLocks noGrp="1"/>
          </p:cNvSpPr>
          <p:nvPr>
            <p:ph type="title"/>
          </p:nvPr>
        </p:nvSpPr>
        <p:spPr>
          <a:xfrm>
            <a:off x="2984610" y="757406"/>
            <a:ext cx="9058962" cy="1325563"/>
          </a:xfrm>
        </p:spPr>
        <p:txBody>
          <a:bodyPr/>
          <a:lstStyle/>
          <a:p>
            <a:r>
              <a:rPr lang="en-US" dirty="0"/>
              <a:t>Click to edit Master title style</a:t>
            </a:r>
          </a:p>
        </p:txBody>
      </p:sp>
      <p:sp>
        <p:nvSpPr>
          <p:cNvPr id="8" name="Content Placeholder 2">
            <a:extLst>
              <a:ext uri="{FF2B5EF4-FFF2-40B4-BE49-F238E27FC236}">
                <a16:creationId xmlns:a16="http://schemas.microsoft.com/office/drawing/2014/main" id="{B4638DC7-E119-3A49-8DD3-28590FF4E261}"/>
              </a:ext>
            </a:extLst>
          </p:cNvPr>
          <p:cNvSpPr>
            <a:spLocks noGrp="1"/>
          </p:cNvSpPr>
          <p:nvPr>
            <p:ph idx="1"/>
          </p:nvPr>
        </p:nvSpPr>
        <p:spPr>
          <a:xfrm>
            <a:off x="838419" y="2438400"/>
            <a:ext cx="10515163" cy="373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38">
            <a:extLst>
              <a:ext uri="{FF2B5EF4-FFF2-40B4-BE49-F238E27FC236}">
                <a16:creationId xmlns:a16="http://schemas.microsoft.com/office/drawing/2014/main" id="{203171F1-670C-FA49-979C-F6826651761B}"/>
              </a:ext>
            </a:extLst>
          </p:cNvPr>
          <p:cNvSpPr>
            <a:spLocks noChangeArrowheads="1"/>
          </p:cNvSpPr>
          <p:nvPr userDrawn="1"/>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tx1"/>
                </a:solidFill>
                <a:latin typeface="Arial" panose="020B0604020202020204" pitchFamily="34" charset="0"/>
                <a:cs typeface="Arial" panose="020B0604020202020204" pitchFamily="34" charset="0"/>
              </a:rPr>
              <a:t>© 2022 TransUnion LLC All Rights</a:t>
            </a:r>
            <a:r>
              <a:rPr lang="en-US" sz="1100" baseline="0" dirty="0">
                <a:solidFill>
                  <a:schemeClr val="tx1"/>
                </a:solidFill>
                <a:latin typeface="Arial" panose="020B0604020202020204" pitchFamily="34" charset="0"/>
                <a:cs typeface="Arial" panose="020B0604020202020204" pitchFamily="34" charset="0"/>
              </a:rPr>
              <a:t> Reserved</a:t>
            </a:r>
            <a:r>
              <a:rPr lang="en-US" sz="1100" dirty="0">
                <a:solidFill>
                  <a:schemeClr val="tx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tx1"/>
                </a:solidFill>
                <a:latin typeface="Arial" panose="020B0604020202020204" pitchFamily="34" charset="0"/>
                <a:ea typeface="+mn-ea"/>
                <a:cs typeface="Arial" panose="020B0604020202020204" pitchFamily="34" charset="0"/>
              </a:rPr>
              <a:pPr algn="l" eaLnBrk="0" hangingPunct="0"/>
              <a:t>‹#›</a:t>
            </a:fld>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1637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5354602"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0"/>
          </p:nvPr>
        </p:nvSpPr>
        <p:spPr>
          <a:xfrm>
            <a:off x="6226210" y="1600201"/>
            <a:ext cx="5356191"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5406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7452AE-41CB-4546-89EE-2F1849866644}"/>
              </a:ext>
            </a:extLst>
          </p:cNvPr>
          <p:cNvSpPr>
            <a:spLocks noGrp="1"/>
          </p:cNvSpPr>
          <p:nvPr>
            <p:ph type="title"/>
          </p:nvPr>
        </p:nvSpPr>
        <p:spPr>
          <a:xfrm>
            <a:off x="2984610" y="757406"/>
            <a:ext cx="9058962" cy="1325563"/>
          </a:xfrm>
        </p:spPr>
        <p:txBody>
          <a:bodyPr/>
          <a:lstStyle/>
          <a:p>
            <a:r>
              <a:rPr lang="en-US" dirty="0"/>
              <a:t>Click to edit Master title style</a:t>
            </a:r>
          </a:p>
        </p:txBody>
      </p:sp>
      <p:sp>
        <p:nvSpPr>
          <p:cNvPr id="8" name="Content Placeholder 2">
            <a:extLst>
              <a:ext uri="{FF2B5EF4-FFF2-40B4-BE49-F238E27FC236}">
                <a16:creationId xmlns:a16="http://schemas.microsoft.com/office/drawing/2014/main" id="{B4638DC7-E119-3A49-8DD3-28590FF4E261}"/>
              </a:ext>
            </a:extLst>
          </p:cNvPr>
          <p:cNvSpPr>
            <a:spLocks noGrp="1"/>
          </p:cNvSpPr>
          <p:nvPr>
            <p:ph idx="1"/>
          </p:nvPr>
        </p:nvSpPr>
        <p:spPr>
          <a:xfrm>
            <a:off x="838419" y="2438400"/>
            <a:ext cx="10515163" cy="373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38">
            <a:extLst>
              <a:ext uri="{FF2B5EF4-FFF2-40B4-BE49-F238E27FC236}">
                <a16:creationId xmlns:a16="http://schemas.microsoft.com/office/drawing/2014/main" id="{203171F1-670C-FA49-979C-F6826651761B}"/>
              </a:ext>
            </a:extLst>
          </p:cNvPr>
          <p:cNvSpPr>
            <a:spLocks noChangeArrowheads="1"/>
          </p:cNvSpPr>
          <p:nvPr userDrawn="1"/>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tx1"/>
                </a:solidFill>
                <a:latin typeface="Arial" panose="020B0604020202020204" pitchFamily="34" charset="0"/>
                <a:cs typeface="Arial" panose="020B0604020202020204" pitchFamily="34" charset="0"/>
              </a:rPr>
              <a:t>© 2022 TransUnion LLC All Rights</a:t>
            </a:r>
            <a:r>
              <a:rPr lang="en-US" sz="1100" baseline="0" dirty="0">
                <a:solidFill>
                  <a:schemeClr val="tx1"/>
                </a:solidFill>
                <a:latin typeface="Arial" panose="020B0604020202020204" pitchFamily="34" charset="0"/>
                <a:cs typeface="Arial" panose="020B0604020202020204" pitchFamily="34" charset="0"/>
              </a:rPr>
              <a:t> Reserved</a:t>
            </a:r>
            <a:r>
              <a:rPr lang="en-US" sz="1100" dirty="0">
                <a:solidFill>
                  <a:schemeClr val="tx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tx1"/>
                </a:solidFill>
                <a:latin typeface="Arial" panose="020B0604020202020204" pitchFamily="34" charset="0"/>
                <a:ea typeface="+mn-ea"/>
                <a:cs typeface="Arial" panose="020B0604020202020204" pitchFamily="34" charset="0"/>
              </a:rPr>
              <a:pPr algn="l" eaLnBrk="0" hangingPunct="0"/>
              <a:t>‹#›</a:t>
            </a:fld>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147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0A1A85E-41C7-634B-9840-92E0CE2620F2}"/>
              </a:ext>
            </a:extLst>
          </p:cNvPr>
          <p:cNvSpPr>
            <a:spLocks noGrp="1"/>
          </p:cNvSpPr>
          <p:nvPr>
            <p:ph type="title" hasCustomPrompt="1"/>
          </p:nvPr>
        </p:nvSpPr>
        <p:spPr>
          <a:xfrm>
            <a:off x="484221" y="548953"/>
            <a:ext cx="6740038" cy="661988"/>
          </a:xfrm>
          <a:prstGeom prst="rect">
            <a:avLst/>
          </a:prstGeom>
        </p:spPr>
        <p:txBody>
          <a:bodyPr anchor="t">
            <a:noAutofit/>
          </a:bodyPr>
          <a:lstStyle>
            <a:lvl1pPr algn="l">
              <a:defRPr sz="3200" b="1" cap="none">
                <a:solidFill>
                  <a:schemeClr val="bg1"/>
                </a:solidFill>
              </a:defRPr>
            </a:lvl1pPr>
          </a:lstStyle>
          <a:p>
            <a:r>
              <a:rPr lang="en-US" dirty="0"/>
              <a:t>Title Slide</a:t>
            </a:r>
          </a:p>
        </p:txBody>
      </p:sp>
      <p:sp>
        <p:nvSpPr>
          <p:cNvPr id="9" name="Text Placeholder 2">
            <a:extLst>
              <a:ext uri="{FF2B5EF4-FFF2-40B4-BE49-F238E27FC236}">
                <a16:creationId xmlns:a16="http://schemas.microsoft.com/office/drawing/2014/main" id="{496CE6BB-336F-D249-9051-0D294AACA8C7}"/>
              </a:ext>
            </a:extLst>
          </p:cNvPr>
          <p:cNvSpPr>
            <a:spLocks noGrp="1"/>
          </p:cNvSpPr>
          <p:nvPr>
            <p:ph type="body" idx="1" hasCustomPrompt="1"/>
          </p:nvPr>
        </p:nvSpPr>
        <p:spPr>
          <a:xfrm>
            <a:off x="484221" y="1382242"/>
            <a:ext cx="6740038" cy="1500187"/>
          </a:xfrm>
          <a:prstGeom prst="rect">
            <a:avLst/>
          </a:prstGeom>
        </p:spPr>
        <p:txBody>
          <a:bodyPr anchor="t">
            <a:noAutofit/>
          </a:bodyPr>
          <a:lstStyle>
            <a:lvl1pPr marL="0" indent="0" algn="l">
              <a:buNone/>
              <a:defRPr sz="24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Your name, Your title, Your company</a:t>
            </a:r>
          </a:p>
        </p:txBody>
      </p:sp>
    </p:spTree>
    <p:extLst>
      <p:ext uri="{BB962C8B-B14F-4D97-AF65-F5344CB8AC3E}">
        <p14:creationId xmlns:p14="http://schemas.microsoft.com/office/powerpoint/2010/main" val="2602614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E548A03-4C11-4C49-83CB-D64E8F4C9F33}"/>
              </a:ext>
            </a:extLst>
          </p:cNvPr>
          <p:cNvSpPr>
            <a:spLocks noGrp="1"/>
          </p:cNvSpPr>
          <p:nvPr>
            <p:ph type="title" hasCustomPrompt="1"/>
          </p:nvPr>
        </p:nvSpPr>
        <p:spPr>
          <a:xfrm>
            <a:off x="547550" y="581360"/>
            <a:ext cx="6632574" cy="661988"/>
          </a:xfrm>
          <a:prstGeom prst="rect">
            <a:avLst/>
          </a:prstGeom>
        </p:spPr>
        <p:txBody>
          <a:bodyPr anchor="t">
            <a:noAutofit/>
          </a:bodyPr>
          <a:lstStyle>
            <a:lvl1pPr algn="l">
              <a:defRPr sz="3200" b="1" cap="none">
                <a:solidFill>
                  <a:schemeClr val="bg1"/>
                </a:solidFill>
              </a:defRPr>
            </a:lvl1pPr>
          </a:lstStyle>
          <a:p>
            <a:r>
              <a:rPr lang="en-US" dirty="0"/>
              <a:t>Section Breaker</a:t>
            </a:r>
          </a:p>
        </p:txBody>
      </p:sp>
      <p:sp>
        <p:nvSpPr>
          <p:cNvPr id="11" name="Text Placeholder 2">
            <a:extLst>
              <a:ext uri="{FF2B5EF4-FFF2-40B4-BE49-F238E27FC236}">
                <a16:creationId xmlns:a16="http://schemas.microsoft.com/office/drawing/2014/main" id="{99FA08D0-7EB5-5B47-AB36-E0EF8B130A01}"/>
              </a:ext>
            </a:extLst>
          </p:cNvPr>
          <p:cNvSpPr>
            <a:spLocks noGrp="1"/>
          </p:cNvSpPr>
          <p:nvPr>
            <p:ph type="body" idx="1"/>
          </p:nvPr>
        </p:nvSpPr>
        <p:spPr>
          <a:xfrm>
            <a:off x="547550" y="1414648"/>
            <a:ext cx="6632574" cy="2491152"/>
          </a:xfrm>
          <a:prstGeom prst="rect">
            <a:avLst/>
          </a:prstGeom>
        </p:spPr>
        <p:txBody>
          <a:bodyPr anchor="t">
            <a:noAutofit/>
          </a:bodyPr>
          <a:lstStyle>
            <a:lvl1pPr marL="0" indent="0" algn="l">
              <a:buNone/>
              <a:defRPr sz="24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12" name="Rectangle 38">
            <a:extLst>
              <a:ext uri="{FF2B5EF4-FFF2-40B4-BE49-F238E27FC236}">
                <a16:creationId xmlns:a16="http://schemas.microsoft.com/office/drawing/2014/main" id="{4FAB5694-02EC-374A-872E-758B676E8B00}"/>
              </a:ext>
            </a:extLst>
          </p:cNvPr>
          <p:cNvSpPr>
            <a:spLocks noChangeArrowheads="1"/>
          </p:cNvSpPr>
          <p:nvPr userDrawn="1"/>
        </p:nvSpPr>
        <p:spPr bwMode="gray">
          <a:xfrm>
            <a:off x="5245866" y="6422716"/>
            <a:ext cx="6632574" cy="117560"/>
          </a:xfrm>
          <a:prstGeom prst="rect">
            <a:avLst/>
          </a:prstGeom>
          <a:noFill/>
          <a:ln w="9525">
            <a:noFill/>
            <a:miter lim="800000"/>
            <a:headEnd/>
            <a:tailEnd/>
          </a:ln>
        </p:spPr>
        <p:txBody>
          <a:bodyPr lIns="0" tIns="0" rIns="0" bIns="0" anchor="b"/>
          <a:lstStyle/>
          <a:p>
            <a:pPr algn="r" eaLnBrk="0" hangingPunct="0"/>
            <a:r>
              <a:rPr lang="en-US" sz="1100" dirty="0">
                <a:solidFill>
                  <a:schemeClr val="bg1"/>
                </a:solidFill>
                <a:latin typeface="Arial" panose="020B0604020202020204" pitchFamily="34" charset="0"/>
                <a:cs typeface="Arial" panose="020B0604020202020204" pitchFamily="34" charset="0"/>
              </a:rPr>
              <a:t>© 2022 TransUnion LLC All Rights</a:t>
            </a:r>
            <a:r>
              <a:rPr lang="en-US" sz="1100" baseline="0" dirty="0">
                <a:solidFill>
                  <a:schemeClr val="bg1"/>
                </a:solidFill>
                <a:latin typeface="Arial" panose="020B0604020202020204" pitchFamily="34" charset="0"/>
                <a:cs typeface="Arial" panose="020B0604020202020204" pitchFamily="34" charset="0"/>
              </a:rPr>
              <a:t> Reserved</a:t>
            </a:r>
            <a:r>
              <a:rPr lang="en-US" sz="1100" dirty="0">
                <a:solidFill>
                  <a:schemeClr val="bg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bg1"/>
                </a:solidFill>
                <a:latin typeface="Arial" panose="020B0604020202020204" pitchFamily="34" charset="0"/>
                <a:ea typeface="+mn-ea"/>
                <a:cs typeface="Arial" panose="020B0604020202020204" pitchFamily="34" charset="0"/>
              </a:rPr>
              <a:pPr algn="r" eaLnBrk="0" hangingPunct="0"/>
              <a:t>‹#›</a:t>
            </a:fld>
            <a:endParaRPr lang="en-US" sz="11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42923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FF8A6539-48B7-5842-B1AC-31F47A64CFC5}"/>
              </a:ext>
            </a:extLst>
          </p:cNvPr>
          <p:cNvSpPr>
            <a:spLocks noGrp="1"/>
          </p:cNvSpPr>
          <p:nvPr>
            <p:ph type="body" sz="quarter" idx="10" hasCustomPrompt="1"/>
          </p:nvPr>
        </p:nvSpPr>
        <p:spPr>
          <a:xfrm>
            <a:off x="1178296" y="1654175"/>
            <a:ext cx="6413583" cy="3549650"/>
          </a:xfrm>
        </p:spPr>
        <p:txBody>
          <a:bodyPr/>
          <a:lstStyle>
            <a:lvl1pPr marL="0" indent="0" algn="l">
              <a:buNone/>
              <a:defRPr sz="3200" b="1"/>
            </a:lvl1pPr>
            <a:lvl2pPr marL="227012" indent="0" algn="l">
              <a:buNone/>
              <a:defRPr/>
            </a:lvl2pPr>
            <a:lvl3pPr marL="530225" indent="0" algn="l">
              <a:buNone/>
              <a:defRPr/>
            </a:lvl3pPr>
            <a:lvl4pPr marL="768350" indent="0" algn="l">
              <a:buNone/>
              <a:defRPr/>
            </a:lvl4pPr>
            <a:lvl5pPr marL="1073150" indent="0" algn="l">
              <a:buNone/>
              <a:defRPr/>
            </a:lvl5pPr>
          </a:lstStyle>
          <a:p>
            <a:pPr lvl="0"/>
            <a:r>
              <a:rPr lang="en-US" dirty="0"/>
              <a:t>Thank you! Questions?</a:t>
            </a:r>
          </a:p>
        </p:txBody>
      </p:sp>
      <p:sp>
        <p:nvSpPr>
          <p:cNvPr id="5" name="Rectangle 38">
            <a:extLst>
              <a:ext uri="{FF2B5EF4-FFF2-40B4-BE49-F238E27FC236}">
                <a16:creationId xmlns:a16="http://schemas.microsoft.com/office/drawing/2014/main" id="{203171F1-670C-FA49-979C-F6826651761B}"/>
              </a:ext>
            </a:extLst>
          </p:cNvPr>
          <p:cNvSpPr>
            <a:spLocks noChangeArrowheads="1"/>
          </p:cNvSpPr>
          <p:nvPr userDrawn="1"/>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bg1"/>
                </a:solidFill>
                <a:latin typeface="Arial" panose="020B0604020202020204" pitchFamily="34" charset="0"/>
                <a:cs typeface="Arial" panose="020B0604020202020204" pitchFamily="34" charset="0"/>
              </a:rPr>
              <a:t>© 2022 TransUnion LLC All Rights</a:t>
            </a:r>
            <a:r>
              <a:rPr lang="en-US" sz="1100" baseline="0" dirty="0">
                <a:solidFill>
                  <a:schemeClr val="bg1"/>
                </a:solidFill>
                <a:latin typeface="Arial" panose="020B0604020202020204" pitchFamily="34" charset="0"/>
                <a:cs typeface="Arial" panose="020B0604020202020204" pitchFamily="34" charset="0"/>
              </a:rPr>
              <a:t> Reserved</a:t>
            </a:r>
            <a:r>
              <a:rPr lang="en-US" sz="1100" dirty="0">
                <a:solidFill>
                  <a:schemeClr val="bg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bg1"/>
                </a:solidFill>
                <a:latin typeface="Arial" panose="020B0604020202020204" pitchFamily="34" charset="0"/>
                <a:ea typeface="+mn-ea"/>
                <a:cs typeface="Arial" panose="020B0604020202020204" pitchFamily="34" charset="0"/>
              </a:rPr>
              <a:pPr algn="l" eaLnBrk="0" hangingPunct="0"/>
              <a:t>‹#›</a:t>
            </a:fld>
            <a:endParaRPr lang="en-US" sz="11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84609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7452AE-41CB-4546-89EE-2F1849866644}"/>
              </a:ext>
            </a:extLst>
          </p:cNvPr>
          <p:cNvSpPr>
            <a:spLocks noGrp="1"/>
          </p:cNvSpPr>
          <p:nvPr>
            <p:ph type="title"/>
          </p:nvPr>
        </p:nvSpPr>
        <p:spPr>
          <a:xfrm>
            <a:off x="838418" y="388773"/>
            <a:ext cx="10515163" cy="1325563"/>
          </a:xfrm>
        </p:spPr>
        <p:txBody>
          <a:bodyPr/>
          <a:lstStyle/>
          <a:p>
            <a:r>
              <a:rPr lang="en-US" dirty="0"/>
              <a:t>Click to edit Master title style</a:t>
            </a:r>
          </a:p>
        </p:txBody>
      </p:sp>
      <p:sp>
        <p:nvSpPr>
          <p:cNvPr id="8" name="Content Placeholder 2">
            <a:extLst>
              <a:ext uri="{FF2B5EF4-FFF2-40B4-BE49-F238E27FC236}">
                <a16:creationId xmlns:a16="http://schemas.microsoft.com/office/drawing/2014/main" id="{B4638DC7-E119-3A49-8DD3-28590FF4E261}"/>
              </a:ext>
            </a:extLst>
          </p:cNvPr>
          <p:cNvSpPr>
            <a:spLocks noGrp="1"/>
          </p:cNvSpPr>
          <p:nvPr>
            <p:ph idx="1"/>
          </p:nvPr>
        </p:nvSpPr>
        <p:spPr>
          <a:xfrm>
            <a:off x="838419" y="1997613"/>
            <a:ext cx="10515163" cy="41793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38">
            <a:extLst>
              <a:ext uri="{FF2B5EF4-FFF2-40B4-BE49-F238E27FC236}">
                <a16:creationId xmlns:a16="http://schemas.microsoft.com/office/drawing/2014/main" id="{203171F1-670C-FA49-979C-F6826651761B}"/>
              </a:ext>
            </a:extLst>
          </p:cNvPr>
          <p:cNvSpPr>
            <a:spLocks noChangeArrowheads="1"/>
          </p:cNvSpPr>
          <p:nvPr userDrawn="1"/>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tx1"/>
                </a:solidFill>
                <a:latin typeface="Arial" panose="020B0604020202020204" pitchFamily="34" charset="0"/>
                <a:cs typeface="Arial" panose="020B0604020202020204" pitchFamily="34" charset="0"/>
              </a:rPr>
              <a:t>© 2022 TransUnion LLC All Rights</a:t>
            </a:r>
            <a:r>
              <a:rPr lang="en-US" sz="1100" baseline="0" dirty="0">
                <a:solidFill>
                  <a:schemeClr val="tx1"/>
                </a:solidFill>
                <a:latin typeface="Arial" panose="020B0604020202020204" pitchFamily="34" charset="0"/>
                <a:cs typeface="Arial" panose="020B0604020202020204" pitchFamily="34" charset="0"/>
              </a:rPr>
              <a:t> Reserved</a:t>
            </a:r>
            <a:r>
              <a:rPr lang="en-US" sz="1100" dirty="0">
                <a:solidFill>
                  <a:schemeClr val="tx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tx1"/>
                </a:solidFill>
                <a:latin typeface="Arial" panose="020B0604020202020204" pitchFamily="34" charset="0"/>
                <a:ea typeface="+mn-ea"/>
                <a:cs typeface="Arial" panose="020B0604020202020204" pitchFamily="34" charset="0"/>
              </a:rPr>
              <a:pPr algn="l" eaLnBrk="0" hangingPunct="0"/>
              <a:t>‹#›</a:t>
            </a:fld>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07493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7452AE-41CB-4546-89EE-2F1849866644}"/>
              </a:ext>
            </a:extLst>
          </p:cNvPr>
          <p:cNvSpPr>
            <a:spLocks noGrp="1"/>
          </p:cNvSpPr>
          <p:nvPr>
            <p:ph type="title"/>
          </p:nvPr>
        </p:nvSpPr>
        <p:spPr>
          <a:xfrm>
            <a:off x="600937" y="515382"/>
            <a:ext cx="11078289" cy="1325563"/>
          </a:xfrm>
        </p:spPr>
        <p:txBody>
          <a:bodyPr/>
          <a:lstStyle/>
          <a:p>
            <a:r>
              <a:rPr lang="en-US" dirty="0"/>
              <a:t>Click to edit Master title style</a:t>
            </a:r>
          </a:p>
        </p:txBody>
      </p:sp>
      <p:sp>
        <p:nvSpPr>
          <p:cNvPr id="8" name="Content Placeholder 2">
            <a:extLst>
              <a:ext uri="{FF2B5EF4-FFF2-40B4-BE49-F238E27FC236}">
                <a16:creationId xmlns:a16="http://schemas.microsoft.com/office/drawing/2014/main" id="{B4638DC7-E119-3A49-8DD3-28590FF4E261}"/>
              </a:ext>
            </a:extLst>
          </p:cNvPr>
          <p:cNvSpPr>
            <a:spLocks noGrp="1"/>
          </p:cNvSpPr>
          <p:nvPr>
            <p:ph idx="1"/>
          </p:nvPr>
        </p:nvSpPr>
        <p:spPr>
          <a:xfrm>
            <a:off x="600937" y="2044504"/>
            <a:ext cx="11078289" cy="400460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38">
            <a:extLst>
              <a:ext uri="{FF2B5EF4-FFF2-40B4-BE49-F238E27FC236}">
                <a16:creationId xmlns:a16="http://schemas.microsoft.com/office/drawing/2014/main" id="{203171F1-670C-FA49-979C-F6826651761B}"/>
              </a:ext>
            </a:extLst>
          </p:cNvPr>
          <p:cNvSpPr>
            <a:spLocks noChangeArrowheads="1"/>
          </p:cNvSpPr>
          <p:nvPr userDrawn="1"/>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tx1"/>
                </a:solidFill>
                <a:latin typeface="Arial" panose="020B0604020202020204" pitchFamily="34" charset="0"/>
                <a:cs typeface="Arial" panose="020B0604020202020204" pitchFamily="34" charset="0"/>
              </a:rPr>
              <a:t>© 2022 TransUnion LLC All Rights</a:t>
            </a:r>
            <a:r>
              <a:rPr lang="en-US" sz="1100" baseline="0" dirty="0">
                <a:solidFill>
                  <a:schemeClr val="tx1"/>
                </a:solidFill>
                <a:latin typeface="Arial" panose="020B0604020202020204" pitchFamily="34" charset="0"/>
                <a:cs typeface="Arial" panose="020B0604020202020204" pitchFamily="34" charset="0"/>
              </a:rPr>
              <a:t> Reserved</a:t>
            </a:r>
            <a:r>
              <a:rPr lang="en-US" sz="1100" dirty="0">
                <a:solidFill>
                  <a:schemeClr val="tx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tx1"/>
                </a:solidFill>
                <a:latin typeface="Arial" panose="020B0604020202020204" pitchFamily="34" charset="0"/>
                <a:ea typeface="+mn-ea"/>
                <a:cs typeface="Arial" panose="020B0604020202020204" pitchFamily="34" charset="0"/>
              </a:rPr>
              <a:pPr algn="l" eaLnBrk="0" hangingPunct="0"/>
              <a:t>‹#›</a:t>
            </a:fld>
            <a:endParaRPr lang="en-US" sz="11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06821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White/Blue Section Breaker">
    <p:spTree>
      <p:nvGrpSpPr>
        <p:cNvPr id="1" name=""/>
        <p:cNvGrpSpPr/>
        <p:nvPr/>
      </p:nvGrpSpPr>
      <p:grpSpPr>
        <a:xfrm>
          <a:off x="0" y="0"/>
          <a:ext cx="0" cy="0"/>
          <a:chOff x="0" y="0"/>
          <a:chExt cx="0" cy="0"/>
        </a:xfrm>
      </p:grpSpPr>
      <p:grpSp>
        <p:nvGrpSpPr>
          <p:cNvPr id="5" name="Group 4"/>
          <p:cNvGrpSpPr>
            <a:grpSpLocks noChangeAspect="1"/>
          </p:cNvGrpSpPr>
          <p:nvPr userDrawn="1"/>
        </p:nvGrpSpPr>
        <p:grpSpPr>
          <a:xfrm>
            <a:off x="8851155" y="-194358"/>
            <a:ext cx="3914589" cy="2963381"/>
            <a:chOff x="0" y="-350837"/>
            <a:chExt cx="1358900" cy="1371600"/>
          </a:xfrm>
        </p:grpSpPr>
        <p:sp>
          <p:nvSpPr>
            <p:cNvPr id="6" name="Freeform 5"/>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chemeClr val="bg2"/>
                </a:solidFill>
              </a:endParaRPr>
            </a:p>
          </p:txBody>
        </p:sp>
        <p:sp>
          <p:nvSpPr>
            <p:cNvPr id="7" name="Freeform 6"/>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solidFill>
                  <a:schemeClr val="bg2"/>
                </a:solidFill>
              </a:endParaRPr>
            </a:p>
          </p:txBody>
        </p:sp>
      </p:grpSp>
      <p:sp>
        <p:nvSpPr>
          <p:cNvPr id="8" name="Title 1"/>
          <p:cNvSpPr>
            <a:spLocks noGrp="1"/>
          </p:cNvSpPr>
          <p:nvPr>
            <p:ph type="title"/>
          </p:nvPr>
        </p:nvSpPr>
        <p:spPr>
          <a:xfrm>
            <a:off x="926241" y="3676007"/>
            <a:ext cx="10363200" cy="661988"/>
          </a:xfrm>
          <a:prstGeom prst="rect">
            <a:avLst/>
          </a:prstGeom>
        </p:spPr>
        <p:txBody>
          <a:bodyPr anchor="t">
            <a:noAutofit/>
          </a:bodyPr>
          <a:lstStyle>
            <a:lvl1pPr algn="l">
              <a:defRPr sz="4000" b="1" cap="none">
                <a:solidFill>
                  <a:srgbClr val="000000"/>
                </a:solidFill>
              </a:defRPr>
            </a:lvl1pPr>
          </a:lstStyle>
          <a:p>
            <a:r>
              <a:rPr lang="en-US"/>
              <a:t>Click to edit Master title style</a:t>
            </a:r>
            <a:endParaRPr lang="en-US" dirty="0"/>
          </a:p>
        </p:txBody>
      </p:sp>
      <p:sp>
        <p:nvSpPr>
          <p:cNvPr id="9" name="Text Placeholder 2"/>
          <p:cNvSpPr>
            <a:spLocks noGrp="1"/>
          </p:cNvSpPr>
          <p:nvPr>
            <p:ph type="body" idx="1"/>
          </p:nvPr>
        </p:nvSpPr>
        <p:spPr>
          <a:xfrm>
            <a:off x="918634" y="4509295"/>
            <a:ext cx="9084733"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0" name="Rectangle 9"/>
          <p:cNvSpPr/>
          <p:nvPr userDrawn="1"/>
        </p:nvSpPr>
        <p:spPr>
          <a:xfrm>
            <a:off x="918633" y="6062933"/>
            <a:ext cx="1802096" cy="246221"/>
          </a:xfrm>
          <a:prstGeom prst="rect">
            <a:avLst/>
          </a:prstGeom>
        </p:spPr>
        <p:txBody>
          <a:bodyPr wrap="none" lIns="91440" rIns="91440">
            <a:spAutoFit/>
          </a:bodyPr>
          <a:lstStyle/>
          <a:p>
            <a:pPr lvl="0"/>
            <a:r>
              <a:rPr lang="en-US" sz="1000" dirty="0">
                <a:solidFill>
                  <a:schemeClr val="tx1"/>
                </a:solidFill>
              </a:rPr>
              <a:t>Confidential | Internal use only</a:t>
            </a:r>
          </a:p>
        </p:txBody>
      </p:sp>
    </p:spTree>
    <p:extLst>
      <p:ext uri="{BB962C8B-B14F-4D97-AF65-F5344CB8AC3E}">
        <p14:creationId xmlns:p14="http://schemas.microsoft.com/office/powerpoint/2010/main" val="11059980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Blue/Yellow">
    <p:spTree>
      <p:nvGrpSpPr>
        <p:cNvPr id="1" name=""/>
        <p:cNvGrpSpPr/>
        <p:nvPr/>
      </p:nvGrpSpPr>
      <p:grpSpPr>
        <a:xfrm>
          <a:off x="0" y="0"/>
          <a:ext cx="0" cy="0"/>
          <a:chOff x="0" y="0"/>
          <a:chExt cx="0" cy="0"/>
        </a:xfrm>
      </p:grpSpPr>
      <p:sp>
        <p:nvSpPr>
          <p:cNvPr id="23" name="Rectangle 22"/>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grpSp>
        <p:nvGrpSpPr>
          <p:cNvPr id="26" name="Group 25"/>
          <p:cNvGrpSpPr>
            <a:grpSpLocks noChangeAspect="1"/>
          </p:cNvGrpSpPr>
          <p:nvPr userDrawn="1"/>
        </p:nvGrpSpPr>
        <p:grpSpPr>
          <a:xfrm>
            <a:off x="7654754" y="2402948"/>
            <a:ext cx="5157544" cy="5204386"/>
            <a:chOff x="0" y="-350837"/>
            <a:chExt cx="1358900" cy="1371600"/>
          </a:xfrm>
          <a:solidFill>
            <a:schemeClr val="bg2"/>
          </a:solidFill>
        </p:grpSpPr>
        <p:sp>
          <p:nvSpPr>
            <p:cNvPr id="27" name="Freeform 2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9" name="Freeform 28"/>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4" name="Title 1"/>
          <p:cNvSpPr>
            <a:spLocks noGrp="1"/>
          </p:cNvSpPr>
          <p:nvPr>
            <p:ph type="ctrTitle"/>
          </p:nvPr>
        </p:nvSpPr>
        <p:spPr bwMode="black">
          <a:xfrm>
            <a:off x="609759" y="3086100"/>
            <a:ext cx="10358967" cy="474662"/>
          </a:xfrm>
          <a:prstGeom prst="rect">
            <a:avLst/>
          </a:prstGeom>
        </p:spPr>
        <p:txBody>
          <a:bodyPr>
            <a:noAutofit/>
          </a:bodyPr>
          <a:lstStyle>
            <a:lvl1pPr>
              <a:defRPr sz="3200">
                <a:solidFill>
                  <a:srgbClr val="000000"/>
                </a:solidFill>
              </a:defRPr>
            </a:lvl1pPr>
          </a:lstStyle>
          <a:p>
            <a:r>
              <a:rPr lang="en-US"/>
              <a:t>Click to edit Master title style</a:t>
            </a:r>
          </a:p>
        </p:txBody>
      </p:sp>
      <p:sp>
        <p:nvSpPr>
          <p:cNvPr id="28" name="Text Placeholder 4"/>
          <p:cNvSpPr>
            <a:spLocks noGrp="1"/>
          </p:cNvSpPr>
          <p:nvPr>
            <p:ph type="body" sz="quarter" idx="11"/>
          </p:nvPr>
        </p:nvSpPr>
        <p:spPr>
          <a:xfrm>
            <a:off x="609759" y="5970317"/>
            <a:ext cx="7443374" cy="246221"/>
          </a:xfrm>
          <a:prstGeom prst="rect">
            <a:avLst/>
          </a:prstGeom>
        </p:spPr>
        <p:txBody>
          <a:bodyPr>
            <a:noAutofit/>
          </a:bodyPr>
          <a:lstStyle>
            <a:lvl1pPr marL="0" indent="0">
              <a:buNone/>
              <a:defRPr sz="1800" cap="all" baseline="0">
                <a:solidFill>
                  <a:schemeClr val="tx1"/>
                </a:solidFill>
              </a:defRPr>
            </a:lvl1pPr>
          </a:lstStyle>
          <a:p>
            <a:pPr lvl="0"/>
            <a:r>
              <a:rPr lang="en-US"/>
              <a:t>Click to edit Master text styles</a:t>
            </a:r>
          </a:p>
        </p:txBody>
      </p:sp>
      <p:sp>
        <p:nvSpPr>
          <p:cNvPr id="6" name="Text Placeholder 5"/>
          <p:cNvSpPr>
            <a:spLocks noGrp="1"/>
          </p:cNvSpPr>
          <p:nvPr>
            <p:ph type="body" sz="quarter" idx="12"/>
          </p:nvPr>
        </p:nvSpPr>
        <p:spPr>
          <a:xfrm>
            <a:off x="609759" y="3738710"/>
            <a:ext cx="7441258" cy="1829393"/>
          </a:xfrm>
        </p:spPr>
        <p:txBody>
          <a:bodyPr>
            <a:noAutofit/>
          </a:bodyPr>
          <a:lstStyle>
            <a:lvl1pPr marL="0" indent="0">
              <a:buNone/>
              <a:defRPr sz="2000"/>
            </a:lvl1pPr>
            <a:lvl2pPr marL="169863" indent="0">
              <a:buNone/>
              <a:defRPr sz="2000"/>
            </a:lvl2pPr>
            <a:lvl3pPr marL="398463" indent="0">
              <a:buNone/>
              <a:defRPr sz="2000"/>
            </a:lvl3pPr>
            <a:lvl4pPr marL="576263" indent="0">
              <a:buNone/>
              <a:defRPr sz="2000"/>
            </a:lvl4pPr>
            <a:lvl5pPr marL="804863" indent="0">
              <a:buNone/>
              <a:defRPr sz="2000"/>
            </a:lvl5pPr>
          </a:lstStyle>
          <a:p>
            <a:pPr lvl="0"/>
            <a:r>
              <a:rPr lang="en-US"/>
              <a:t>Click to edit Master text styles</a:t>
            </a:r>
          </a:p>
        </p:txBody>
      </p:sp>
      <p:grpSp>
        <p:nvGrpSpPr>
          <p:cNvPr id="30" name="Group 4"/>
          <p:cNvGrpSpPr>
            <a:grpSpLocks noChangeAspect="1"/>
          </p:cNvGrpSpPr>
          <p:nvPr userDrawn="1"/>
        </p:nvGrpSpPr>
        <p:grpSpPr bwMode="auto">
          <a:xfrm>
            <a:off x="609759" y="1350033"/>
            <a:ext cx="1858586" cy="485325"/>
            <a:chOff x="44" y="1156"/>
            <a:chExt cx="5628" cy="1470"/>
          </a:xfrm>
          <a:solidFill>
            <a:schemeClr val="tx2"/>
          </a:solidFill>
        </p:grpSpPr>
        <p:sp>
          <p:nvSpPr>
            <p:cNvPr id="31" name="Freeform 30"/>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31"/>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32"/>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33"/>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34"/>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35"/>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Rectangle 36"/>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37"/>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38"/>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39"/>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Freeform 40"/>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Freeform 41"/>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Freeform 42"/>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Freeform 43"/>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24" name="Rectangle 23"/>
          <p:cNvSpPr/>
          <p:nvPr userDrawn="1"/>
        </p:nvSpPr>
        <p:spPr>
          <a:xfrm>
            <a:off x="1" y="6678614"/>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25" name="Rectangle 24"/>
          <p:cNvSpPr/>
          <p:nvPr userDrawn="1"/>
        </p:nvSpPr>
        <p:spPr>
          <a:xfrm rot="16200000">
            <a:off x="8669263" y="3335317"/>
            <a:ext cx="6858002" cy="1873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grpSp>
        <p:nvGrpSpPr>
          <p:cNvPr id="45" name="Group 4"/>
          <p:cNvGrpSpPr>
            <a:grpSpLocks noChangeAspect="1"/>
          </p:cNvGrpSpPr>
          <p:nvPr userDrawn="1"/>
        </p:nvGrpSpPr>
        <p:grpSpPr bwMode="auto">
          <a:xfrm>
            <a:off x="762198" y="1502433"/>
            <a:ext cx="1858586" cy="485325"/>
            <a:chOff x="44" y="1156"/>
            <a:chExt cx="5628" cy="1470"/>
          </a:xfrm>
          <a:solidFill>
            <a:schemeClr val="bg1"/>
          </a:solidFill>
        </p:grpSpPr>
        <p:sp>
          <p:nvSpPr>
            <p:cNvPr id="46" name="Freeform 45"/>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Freeform 46"/>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47"/>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48"/>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49"/>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1" name="Freeform 50"/>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2" name="Rectangle 51"/>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53" name="Freeform 52"/>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4" name="Freeform 53"/>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5" name="Freeform 54"/>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6" name="Freeform 55"/>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7" name="Freeform 56"/>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8" name="Freeform 57"/>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9" name="Freeform 58"/>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606316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White/Blue">
    <p:spTree>
      <p:nvGrpSpPr>
        <p:cNvPr id="1" name=""/>
        <p:cNvGrpSpPr/>
        <p:nvPr/>
      </p:nvGrpSpPr>
      <p:grpSpPr>
        <a:xfrm>
          <a:off x="0" y="0"/>
          <a:ext cx="0" cy="0"/>
          <a:chOff x="0" y="0"/>
          <a:chExt cx="0" cy="0"/>
        </a:xfrm>
      </p:grpSpPr>
      <p:grpSp>
        <p:nvGrpSpPr>
          <p:cNvPr id="26" name="Group 25"/>
          <p:cNvGrpSpPr>
            <a:grpSpLocks noChangeAspect="1"/>
          </p:cNvGrpSpPr>
          <p:nvPr userDrawn="1"/>
        </p:nvGrpSpPr>
        <p:grpSpPr>
          <a:xfrm>
            <a:off x="7842176" y="2582335"/>
            <a:ext cx="5157544" cy="5204386"/>
            <a:chOff x="0" y="-350837"/>
            <a:chExt cx="1358900" cy="1371600"/>
          </a:xfrm>
          <a:solidFill>
            <a:srgbClr val="00A6CA"/>
          </a:solidFill>
        </p:grpSpPr>
        <p:sp>
          <p:nvSpPr>
            <p:cNvPr id="27" name="Freeform 2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9" name="Freeform 28"/>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4" name="Title 1"/>
          <p:cNvSpPr>
            <a:spLocks noGrp="1"/>
          </p:cNvSpPr>
          <p:nvPr>
            <p:ph type="ctrTitle"/>
          </p:nvPr>
        </p:nvSpPr>
        <p:spPr bwMode="black">
          <a:xfrm>
            <a:off x="609759" y="3086100"/>
            <a:ext cx="10358967" cy="474662"/>
          </a:xfrm>
          <a:prstGeom prst="rect">
            <a:avLst/>
          </a:prstGeom>
        </p:spPr>
        <p:txBody>
          <a:bodyPr>
            <a:noAutofit/>
          </a:bodyPr>
          <a:lstStyle>
            <a:lvl1pPr>
              <a:defRPr sz="3200">
                <a:solidFill>
                  <a:srgbClr val="000000"/>
                </a:solidFill>
              </a:defRPr>
            </a:lvl1pPr>
          </a:lstStyle>
          <a:p>
            <a:r>
              <a:rPr lang="en-US"/>
              <a:t>Click to edit Master title style</a:t>
            </a:r>
          </a:p>
        </p:txBody>
      </p:sp>
      <p:sp>
        <p:nvSpPr>
          <p:cNvPr id="28" name="Text Placeholder 4"/>
          <p:cNvSpPr>
            <a:spLocks noGrp="1"/>
          </p:cNvSpPr>
          <p:nvPr>
            <p:ph type="body" sz="quarter" idx="11"/>
          </p:nvPr>
        </p:nvSpPr>
        <p:spPr>
          <a:xfrm>
            <a:off x="609759" y="5970317"/>
            <a:ext cx="7443374" cy="246221"/>
          </a:xfrm>
          <a:prstGeom prst="rect">
            <a:avLst/>
          </a:prstGeom>
        </p:spPr>
        <p:txBody>
          <a:bodyPr>
            <a:noAutofit/>
          </a:bodyPr>
          <a:lstStyle>
            <a:lvl1pPr marL="0" indent="0">
              <a:buNone/>
              <a:defRPr sz="1800" cap="all" baseline="0">
                <a:solidFill>
                  <a:schemeClr val="tx1"/>
                </a:solidFill>
              </a:defRPr>
            </a:lvl1pPr>
          </a:lstStyle>
          <a:p>
            <a:pPr lvl="0"/>
            <a:r>
              <a:rPr lang="en-US"/>
              <a:t>Click to edit Master text styles</a:t>
            </a:r>
          </a:p>
        </p:txBody>
      </p:sp>
      <p:sp>
        <p:nvSpPr>
          <p:cNvPr id="6" name="Text Placeholder 5"/>
          <p:cNvSpPr>
            <a:spLocks noGrp="1"/>
          </p:cNvSpPr>
          <p:nvPr>
            <p:ph type="body" sz="quarter" idx="12"/>
          </p:nvPr>
        </p:nvSpPr>
        <p:spPr>
          <a:xfrm>
            <a:off x="609759" y="3738710"/>
            <a:ext cx="7441258" cy="1829393"/>
          </a:xfrm>
        </p:spPr>
        <p:txBody>
          <a:bodyPr>
            <a:noAutofit/>
          </a:bodyPr>
          <a:lstStyle>
            <a:lvl1pPr marL="0" indent="0">
              <a:buNone/>
              <a:defRPr sz="2000"/>
            </a:lvl1pPr>
            <a:lvl2pPr marL="169863" indent="0">
              <a:buNone/>
              <a:defRPr sz="2000"/>
            </a:lvl2pPr>
            <a:lvl3pPr marL="398463" indent="0">
              <a:buNone/>
              <a:defRPr sz="2000"/>
            </a:lvl3pPr>
            <a:lvl4pPr marL="576263" indent="0">
              <a:buNone/>
              <a:defRPr sz="2000"/>
            </a:lvl4pPr>
            <a:lvl5pPr marL="804863" indent="0">
              <a:buNone/>
              <a:defRPr sz="2000"/>
            </a:lvl5pPr>
          </a:lstStyle>
          <a:p>
            <a:pPr lvl="0"/>
            <a:r>
              <a:rPr lang="en-US"/>
              <a:t>Click to edit Master text styles</a:t>
            </a:r>
          </a:p>
        </p:txBody>
      </p:sp>
      <p:grpSp>
        <p:nvGrpSpPr>
          <p:cNvPr id="30" name="Group 4"/>
          <p:cNvGrpSpPr>
            <a:grpSpLocks noChangeAspect="1"/>
          </p:cNvGrpSpPr>
          <p:nvPr userDrawn="1"/>
        </p:nvGrpSpPr>
        <p:grpSpPr bwMode="auto">
          <a:xfrm>
            <a:off x="609759" y="1350033"/>
            <a:ext cx="1858586" cy="485325"/>
            <a:chOff x="44" y="1156"/>
            <a:chExt cx="5628" cy="1470"/>
          </a:xfrm>
          <a:solidFill>
            <a:schemeClr val="tx2"/>
          </a:solidFill>
        </p:grpSpPr>
        <p:sp>
          <p:nvSpPr>
            <p:cNvPr id="31" name="Freeform 30"/>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31"/>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32"/>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33"/>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34"/>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35"/>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Rectangle 36"/>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37"/>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38"/>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39"/>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1" name="Freeform 40"/>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2" name="Freeform 41"/>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3" name="Freeform 42"/>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4" name="Freeform 43"/>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7019338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2"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1745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5354602" cy="4506913"/>
          </a:xfrm>
          <a:prstGeom prst="rect">
            <a:avLst/>
          </a:prstGeom>
        </p:spPr>
        <p:txBody>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198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5354602"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0"/>
          </p:nvPr>
        </p:nvSpPr>
        <p:spPr>
          <a:xfrm>
            <a:off x="6226210" y="1600201"/>
            <a:ext cx="5356191" cy="4506913"/>
          </a:xfrm>
          <a:prstGeom prst="rect">
            <a:avLst/>
          </a:prstGeom>
        </p:spPr>
        <p:txBody>
          <a:bodyPr>
            <a:normAutofit/>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00796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00201"/>
            <a:ext cx="5354602" cy="4506913"/>
          </a:xfrm>
          <a:prstGeom prst="rect">
            <a:avLst/>
          </a:prstGeom>
        </p:spPr>
        <p:txBody>
          <a:bodyPr/>
          <a:lstStyle>
            <a:lvl1pPr>
              <a:spcAft>
                <a:spcPts val="600"/>
              </a:spcAft>
              <a:defRPr>
                <a:solidFill>
                  <a:schemeClr val="tx1"/>
                </a:solidFill>
              </a:defRPr>
            </a:lvl1pPr>
            <a:lvl2pPr>
              <a:spcAft>
                <a:spcPts val="600"/>
              </a:spcAft>
              <a:defRPr>
                <a:solidFill>
                  <a:schemeClr val="tx1"/>
                </a:solidFill>
              </a:defRPr>
            </a:lvl2pPr>
            <a:lvl3pPr>
              <a:spcAft>
                <a:spcPts val="600"/>
              </a:spcAft>
              <a:defRPr>
                <a:solidFill>
                  <a:schemeClr val="tx1"/>
                </a:solidFill>
              </a:defRPr>
            </a:lvl3pPr>
            <a:lvl4pPr>
              <a:spcAft>
                <a:spcPts val="600"/>
              </a:spcAft>
              <a:defRPr>
                <a:solidFill>
                  <a:schemeClr val="tx1"/>
                </a:solidFill>
              </a:defRPr>
            </a:lvl4pPr>
            <a:lvl5pPr>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47380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41825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7367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White/Blue Section Breaker">
    <p:spTree>
      <p:nvGrpSpPr>
        <p:cNvPr id="1" name=""/>
        <p:cNvGrpSpPr/>
        <p:nvPr/>
      </p:nvGrpSpPr>
      <p:grpSpPr>
        <a:xfrm>
          <a:off x="0" y="0"/>
          <a:ext cx="0" cy="0"/>
          <a:chOff x="0" y="0"/>
          <a:chExt cx="0" cy="0"/>
        </a:xfrm>
      </p:grpSpPr>
      <p:sp>
        <p:nvSpPr>
          <p:cNvPr id="16"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7"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18" name="Group 17"/>
          <p:cNvGrpSpPr>
            <a:grpSpLocks noChangeAspect="1"/>
          </p:cNvGrpSpPr>
          <p:nvPr userDrawn="1"/>
        </p:nvGrpSpPr>
        <p:grpSpPr>
          <a:xfrm>
            <a:off x="9268841" y="-179386"/>
            <a:ext cx="3458895" cy="3490307"/>
            <a:chOff x="0" y="-350837"/>
            <a:chExt cx="1358900" cy="1371600"/>
          </a:xfrm>
          <a:solidFill>
            <a:schemeClr val="tx2"/>
          </a:solidFill>
        </p:grpSpPr>
        <p:sp>
          <p:nvSpPr>
            <p:cNvPr id="19" name="Freeform 18"/>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0" name="Freeform 19"/>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Tree>
    <p:extLst>
      <p:ext uri="{BB962C8B-B14F-4D97-AF65-F5344CB8AC3E}">
        <p14:creationId xmlns:p14="http://schemas.microsoft.com/office/powerpoint/2010/main" val="37883018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White Sub-Section Breaker">
    <p:spTree>
      <p:nvGrpSpPr>
        <p:cNvPr id="1" name=""/>
        <p:cNvGrpSpPr/>
        <p:nvPr/>
      </p:nvGrpSpPr>
      <p:grpSpPr>
        <a:xfrm>
          <a:off x="0" y="0"/>
          <a:ext cx="0" cy="0"/>
          <a:chOff x="0" y="0"/>
          <a:chExt cx="0" cy="0"/>
        </a:xfrm>
      </p:grpSpPr>
      <p:sp>
        <p:nvSpPr>
          <p:cNvPr id="4"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5"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23" name="Group 4"/>
          <p:cNvGrpSpPr>
            <a:grpSpLocks noChangeAspect="1"/>
          </p:cNvGrpSpPr>
          <p:nvPr userDrawn="1"/>
        </p:nvGrpSpPr>
        <p:grpSpPr bwMode="auto">
          <a:xfrm>
            <a:off x="10433650" y="380391"/>
            <a:ext cx="1148591" cy="299927"/>
            <a:chOff x="44" y="1156"/>
            <a:chExt cx="5628" cy="1470"/>
          </a:xfrm>
          <a:solidFill>
            <a:srgbClr val="00A6CA"/>
          </a:solidFill>
        </p:grpSpPr>
        <p:sp>
          <p:nvSpPr>
            <p:cNvPr id="24" name="Freeform 23"/>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2951295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White Logo Transition">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918633"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21" name="Group 4"/>
          <p:cNvGrpSpPr>
            <a:grpSpLocks noChangeAspect="1"/>
          </p:cNvGrpSpPr>
          <p:nvPr userDrawn="1"/>
        </p:nvGrpSpPr>
        <p:grpSpPr bwMode="auto">
          <a:xfrm>
            <a:off x="10433650" y="380391"/>
            <a:ext cx="1148591" cy="299927"/>
            <a:chOff x="44" y="1156"/>
            <a:chExt cx="5628" cy="1470"/>
          </a:xfrm>
          <a:solidFill>
            <a:schemeClr val="tx2"/>
          </a:solidFill>
        </p:grpSpPr>
        <p:sp>
          <p:nvSpPr>
            <p:cNvPr id="22" name="Freeform 21"/>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1508824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Yellow Section Breaker">
    <p:bg>
      <p:bgPr>
        <a:solidFill>
          <a:schemeClr val="bg1"/>
        </a:solidFill>
        <a:effectLst/>
      </p:bgPr>
    </p:bg>
    <p:spTree>
      <p:nvGrpSpPr>
        <p:cNvPr id="1" name=""/>
        <p:cNvGrpSpPr/>
        <p:nvPr/>
      </p:nvGrpSpPr>
      <p:grpSpPr>
        <a:xfrm>
          <a:off x="0" y="0"/>
          <a:ext cx="0" cy="0"/>
          <a:chOff x="0" y="0"/>
          <a:chExt cx="0" cy="0"/>
        </a:xfrm>
      </p:grpSpPr>
      <p:sp>
        <p:nvSpPr>
          <p:cNvPr id="27" name="Rectangle 26"/>
          <p:cNvSpPr/>
          <p:nvPr userDrawn="1"/>
        </p:nvSpPr>
        <p:spPr>
          <a:xfrm>
            <a:off x="187373" y="179389"/>
            <a:ext cx="11817253"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grpSp>
        <p:nvGrpSpPr>
          <p:cNvPr id="24" name="Group 23"/>
          <p:cNvGrpSpPr>
            <a:grpSpLocks noChangeAspect="1"/>
          </p:cNvGrpSpPr>
          <p:nvPr userDrawn="1"/>
        </p:nvGrpSpPr>
        <p:grpSpPr>
          <a:xfrm>
            <a:off x="9078632" y="1"/>
            <a:ext cx="3458895" cy="3490307"/>
            <a:chOff x="0" y="-350837"/>
            <a:chExt cx="1358900" cy="1371600"/>
          </a:xfrm>
          <a:solidFill>
            <a:srgbClr val="FCD800"/>
          </a:solidFill>
        </p:grpSpPr>
        <p:sp>
          <p:nvSpPr>
            <p:cNvPr id="25" name="Freeform 24"/>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6" name="Freeform 25"/>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
        <p:nvSpPr>
          <p:cNvPr id="11" name="Rectangle 10"/>
          <p:cNvSpPr/>
          <p:nvPr userDrawn="1"/>
        </p:nvSpPr>
        <p:spPr>
          <a:xfrm rot="10800000">
            <a:off x="-1" y="-1"/>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12" name="Rectangle 11"/>
          <p:cNvSpPr/>
          <p:nvPr userDrawn="1"/>
        </p:nvSpPr>
        <p:spPr>
          <a:xfrm rot="16200000">
            <a:off x="8669314"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t>v</a:t>
            </a:r>
          </a:p>
        </p:txBody>
      </p:sp>
      <p:sp>
        <p:nvSpPr>
          <p:cNvPr id="15"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6"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038590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ue Sub-Section Breaker">
    <p:spTree>
      <p:nvGrpSpPr>
        <p:cNvPr id="1" name=""/>
        <p:cNvGrpSpPr/>
        <p:nvPr/>
      </p:nvGrpSpPr>
      <p:grpSpPr>
        <a:xfrm>
          <a:off x="0" y="0"/>
          <a:ext cx="0" cy="0"/>
          <a:chOff x="0" y="0"/>
          <a:chExt cx="0" cy="0"/>
        </a:xfrm>
      </p:grpSpPr>
      <p:sp>
        <p:nvSpPr>
          <p:cNvPr id="41" name="Rectangle 40"/>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sp>
        <p:nvSpPr>
          <p:cNvPr id="23"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24"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5"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26"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7" name="Freeform 26"/>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8"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9"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0"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5653005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ue Logo Transition">
    <p:spTree>
      <p:nvGrpSpPr>
        <p:cNvPr id="1" name=""/>
        <p:cNvGrpSpPr/>
        <p:nvPr/>
      </p:nvGrpSpPr>
      <p:grpSpPr>
        <a:xfrm>
          <a:off x="0" y="0"/>
          <a:ext cx="0" cy="0"/>
          <a:chOff x="0" y="0"/>
          <a:chExt cx="0" cy="0"/>
        </a:xfrm>
      </p:grpSpPr>
      <p:sp>
        <p:nvSpPr>
          <p:cNvPr id="37" name="Rectangle 36"/>
          <p:cNvSpPr/>
          <p:nvPr userDrawn="1"/>
        </p:nvSpPr>
        <p:spPr>
          <a:xfrm>
            <a:off x="187373" y="179389"/>
            <a:ext cx="11817252" cy="6492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n>
                <a:noFill/>
              </a:ln>
              <a:noFill/>
            </a:endParaRPr>
          </a:p>
        </p:txBody>
      </p:sp>
      <p:sp>
        <p:nvSpPr>
          <p:cNvPr id="4" name="Text Placeholder 2"/>
          <p:cNvSpPr>
            <a:spLocks noGrp="1"/>
          </p:cNvSpPr>
          <p:nvPr>
            <p:ph type="body" idx="1"/>
          </p:nvPr>
        </p:nvSpPr>
        <p:spPr bwMode="black">
          <a:xfrm>
            <a:off x="919240"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22"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3" name="Freeform 22"/>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77157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1677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Yellow Section Breaker">
    <p:bg>
      <p:bgPr>
        <a:solidFill>
          <a:schemeClr val="bg1"/>
        </a:solidFill>
        <a:effectLst/>
      </p:bgPr>
    </p:bg>
    <p:spTree>
      <p:nvGrpSpPr>
        <p:cNvPr id="1" name=""/>
        <p:cNvGrpSpPr/>
        <p:nvPr/>
      </p:nvGrpSpPr>
      <p:grpSpPr>
        <a:xfrm>
          <a:off x="0" y="0"/>
          <a:ext cx="0" cy="0"/>
          <a:chOff x="0" y="0"/>
          <a:chExt cx="0" cy="0"/>
        </a:xfrm>
      </p:grpSpPr>
      <p:sp>
        <p:nvSpPr>
          <p:cNvPr id="27" name="Rectangle 26"/>
          <p:cNvSpPr/>
          <p:nvPr userDrawn="1"/>
        </p:nvSpPr>
        <p:spPr>
          <a:xfrm>
            <a:off x="187375" y="23928"/>
            <a:ext cx="11817253" cy="6492875"/>
          </a:xfrm>
          <a:prstGeom prst="rect">
            <a:avLst/>
          </a:prstGeom>
          <a:solidFill>
            <a:srgbClr val="EBEBEB"/>
          </a:solidFill>
          <a:ln>
            <a:solidFill>
              <a:srgbClr val="EDEDED"/>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grpSp>
        <p:nvGrpSpPr>
          <p:cNvPr id="24" name="Group 23"/>
          <p:cNvGrpSpPr>
            <a:grpSpLocks noChangeAspect="1"/>
          </p:cNvGrpSpPr>
          <p:nvPr userDrawn="1"/>
        </p:nvGrpSpPr>
        <p:grpSpPr>
          <a:xfrm>
            <a:off x="-14794" y="-63196"/>
            <a:ext cx="3458895" cy="3490307"/>
            <a:chOff x="0" y="-350837"/>
            <a:chExt cx="1358900" cy="1371600"/>
          </a:xfrm>
          <a:solidFill>
            <a:schemeClr val="tx2"/>
          </a:solidFill>
        </p:grpSpPr>
        <p:sp>
          <p:nvSpPr>
            <p:cNvPr id="25" name="Freeform 24"/>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FCD800"/>
                </a:solidFill>
              </a:endParaRPr>
            </a:p>
          </p:txBody>
        </p:sp>
        <p:sp>
          <p:nvSpPr>
            <p:cNvPr id="26" name="Freeform 25"/>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FCD800"/>
                </a:solidFill>
              </a:endParaRPr>
            </a:p>
          </p:txBody>
        </p:sp>
      </p:grpSp>
      <p:sp>
        <p:nvSpPr>
          <p:cNvPr id="11" name="Rectangle 10"/>
          <p:cNvSpPr/>
          <p:nvPr userDrawn="1"/>
        </p:nvSpPr>
        <p:spPr>
          <a:xfrm rot="10800000">
            <a:off x="-1" y="-1"/>
            <a:ext cx="12192000" cy="179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
        <p:nvSpPr>
          <p:cNvPr id="12" name="Rectangle 11"/>
          <p:cNvSpPr/>
          <p:nvPr userDrawn="1"/>
        </p:nvSpPr>
        <p:spPr>
          <a:xfrm rot="16200000">
            <a:off x="8669314"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
        <p:nvSpPr>
          <p:cNvPr id="15"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6"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Rectangle 12"/>
          <p:cNvSpPr/>
          <p:nvPr userDrawn="1"/>
        </p:nvSpPr>
        <p:spPr>
          <a:xfrm rot="16200000">
            <a:off x="-3350108" y="3335318"/>
            <a:ext cx="6858002" cy="1873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a:solidFill>
                  <a:srgbClr val="FFFFFF"/>
                </a:solidFill>
              </a:rPr>
              <a:t>v</a:t>
            </a:r>
          </a:p>
        </p:txBody>
      </p:sp>
    </p:spTree>
    <p:extLst>
      <p:ext uri="{BB962C8B-B14F-4D97-AF65-F5344CB8AC3E}">
        <p14:creationId xmlns:p14="http://schemas.microsoft.com/office/powerpoint/2010/main" val="13849653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Yellow Subsection Breaker">
    <p:bg>
      <p:bgPr>
        <a:solidFill>
          <a:schemeClr val="bg1"/>
        </a:solidFill>
        <a:effectLst/>
      </p:bgPr>
    </p:bg>
    <p:spTree>
      <p:nvGrpSpPr>
        <p:cNvPr id="1" name=""/>
        <p:cNvGrpSpPr/>
        <p:nvPr/>
      </p:nvGrpSpPr>
      <p:grpSpPr>
        <a:xfrm>
          <a:off x="0" y="0"/>
          <a:ext cx="0" cy="0"/>
          <a:chOff x="0" y="0"/>
          <a:chExt cx="0" cy="0"/>
        </a:xfrm>
      </p:grpSpPr>
      <p:sp>
        <p:nvSpPr>
          <p:cNvPr id="40" name="Rectangle 39"/>
          <p:cNvSpPr/>
          <p:nvPr userDrawn="1"/>
        </p:nvSpPr>
        <p:spPr>
          <a:xfrm>
            <a:off x="187373" y="179389"/>
            <a:ext cx="11817252" cy="6492875"/>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sp>
        <p:nvSpPr>
          <p:cNvPr id="22"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23"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4"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25"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6" name="Freeform 25"/>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7"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8"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9"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0"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1"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2" name="Rectangle 12"/>
            <p:cNvSpPr>
              <a:spLocks noChangeArrowheads="1"/>
            </p:cNvSpPr>
            <p:nvPr userDrawn="1"/>
          </p:nvSpPr>
          <p:spPr bwMode="auto">
            <a:xfrm>
              <a:off x="3686" y="2142"/>
              <a:ext cx="106" cy="472"/>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3"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4"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5"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6"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7"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8"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9"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grpSp>
    </p:spTree>
    <p:extLst>
      <p:ext uri="{BB962C8B-B14F-4D97-AF65-F5344CB8AC3E}">
        <p14:creationId xmlns:p14="http://schemas.microsoft.com/office/powerpoint/2010/main" val="3531465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Yellow Logo Transition">
    <p:bg>
      <p:bgPr>
        <a:solidFill>
          <a:schemeClr val="bg1"/>
        </a:solidFill>
        <a:effectLst/>
      </p:bgPr>
    </p:bg>
    <p:spTree>
      <p:nvGrpSpPr>
        <p:cNvPr id="1" name=""/>
        <p:cNvGrpSpPr/>
        <p:nvPr/>
      </p:nvGrpSpPr>
      <p:grpSpPr>
        <a:xfrm>
          <a:off x="0" y="0"/>
          <a:ext cx="0" cy="0"/>
          <a:chOff x="0" y="0"/>
          <a:chExt cx="0" cy="0"/>
        </a:xfrm>
      </p:grpSpPr>
      <p:sp>
        <p:nvSpPr>
          <p:cNvPr id="52" name="Rectangle 51"/>
          <p:cNvSpPr/>
          <p:nvPr userDrawn="1"/>
        </p:nvSpPr>
        <p:spPr>
          <a:xfrm>
            <a:off x="187373" y="179389"/>
            <a:ext cx="11817252" cy="6492875"/>
          </a:xfrm>
          <a:prstGeom prst="rect">
            <a:avLst/>
          </a:prstGeom>
          <a:solidFill>
            <a:srgbClr val="EBEBE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noFill/>
            </a:endParaRPr>
          </a:p>
        </p:txBody>
      </p:sp>
      <p:sp>
        <p:nvSpPr>
          <p:cNvPr id="3" name="Text Placeholder 2"/>
          <p:cNvSpPr>
            <a:spLocks noGrp="1"/>
          </p:cNvSpPr>
          <p:nvPr>
            <p:ph type="body" idx="1"/>
          </p:nvPr>
        </p:nvSpPr>
        <p:spPr>
          <a:xfrm>
            <a:off x="919240" y="2675733"/>
            <a:ext cx="10353522" cy="1500187"/>
          </a:xfrm>
          <a:prstGeom prst="rect">
            <a:avLst/>
          </a:prstGeom>
        </p:spPr>
        <p:txBody>
          <a:bodyPr anchor="ctr">
            <a:noAutofit/>
          </a:bodyPr>
          <a:lstStyle>
            <a:lvl1pPr marL="0" indent="0" algn="l">
              <a:buNone/>
              <a:defRPr sz="32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22" name="Group 4"/>
          <p:cNvGrpSpPr>
            <a:grpSpLocks noChangeAspect="1"/>
          </p:cNvGrpSpPr>
          <p:nvPr userDrawn="1"/>
        </p:nvGrpSpPr>
        <p:grpSpPr bwMode="auto">
          <a:xfrm>
            <a:off x="10433650" y="380391"/>
            <a:ext cx="1148591" cy="299927"/>
            <a:chOff x="44" y="1156"/>
            <a:chExt cx="5628" cy="1470"/>
          </a:xfrm>
          <a:solidFill>
            <a:schemeClr val="bg1"/>
          </a:solidFill>
        </p:grpSpPr>
        <p:sp>
          <p:nvSpPr>
            <p:cNvPr id="23" name="Freeform 22"/>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4"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5"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6"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7"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8"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29" name="Rectangle 12"/>
            <p:cNvSpPr>
              <a:spLocks noChangeArrowheads="1"/>
            </p:cNvSpPr>
            <p:nvPr userDrawn="1"/>
          </p:nvSpPr>
          <p:spPr bwMode="auto">
            <a:xfrm>
              <a:off x="3686" y="2142"/>
              <a:ext cx="106" cy="472"/>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0"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1"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2"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3"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4"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5"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sp>
          <p:nvSpPr>
            <p:cNvPr id="36"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rgbClr val="000000"/>
                </a:solidFill>
              </a:endParaRPr>
            </a:p>
          </p:txBody>
        </p:sp>
      </p:grpSp>
    </p:spTree>
    <p:extLst>
      <p:ext uri="{BB962C8B-B14F-4D97-AF65-F5344CB8AC3E}">
        <p14:creationId xmlns:p14="http://schemas.microsoft.com/office/powerpoint/2010/main" val="26215048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TU Watermark">
    <p:spTree>
      <p:nvGrpSpPr>
        <p:cNvPr id="1" name=""/>
        <p:cNvGrpSpPr/>
        <p:nvPr/>
      </p:nvGrpSpPr>
      <p:grpSpPr>
        <a:xfrm>
          <a:off x="0" y="0"/>
          <a:ext cx="0" cy="0"/>
          <a:chOff x="0" y="0"/>
          <a:chExt cx="0" cy="0"/>
        </a:xfrm>
      </p:grpSpPr>
      <p:grpSp>
        <p:nvGrpSpPr>
          <p:cNvPr id="5" name="Group 4"/>
          <p:cNvGrpSpPr>
            <a:grpSpLocks noChangeAspect="1"/>
          </p:cNvGrpSpPr>
          <p:nvPr userDrawn="1"/>
        </p:nvGrpSpPr>
        <p:grpSpPr>
          <a:xfrm>
            <a:off x="183141" y="-2535969"/>
            <a:ext cx="11825720" cy="11933114"/>
            <a:chOff x="0" y="-350837"/>
            <a:chExt cx="1358900" cy="1371600"/>
          </a:xfrm>
          <a:solidFill>
            <a:srgbClr val="EBEBEB"/>
          </a:solidFill>
        </p:grpSpPr>
        <p:sp>
          <p:nvSpPr>
            <p:cNvPr id="7" name="Freeform 6"/>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8" name="Freeform 7"/>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Tree>
    <p:extLst>
      <p:ext uri="{BB962C8B-B14F-4D97-AF65-F5344CB8AC3E}">
        <p14:creationId xmlns:p14="http://schemas.microsoft.com/office/powerpoint/2010/main" val="28735415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1535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nspiring sales reps">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914400" y="2232662"/>
            <a:ext cx="10353522" cy="1500187"/>
          </a:xfrm>
        </p:spPr>
        <p:txBody>
          <a:bodyPr anchor="t">
            <a:noAutofit/>
          </a:bodyPr>
          <a:lstStyle>
            <a:lvl1pPr marL="0" indent="0" algn="l">
              <a:buNone/>
              <a:defRPr sz="4300">
                <a:solidFill>
                  <a:srgbClr val="000000"/>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pic>
        <p:nvPicPr>
          <p:cNvPr id="3" name="Picture 2" descr="TULogo_blue.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18805" y="369816"/>
            <a:ext cx="1182624" cy="308717"/>
          </a:xfrm>
          <a:prstGeom prst="rect">
            <a:avLst/>
          </a:prstGeom>
        </p:spPr>
      </p:pic>
    </p:spTree>
    <p:extLst>
      <p:ext uri="{BB962C8B-B14F-4D97-AF65-F5344CB8AC3E}">
        <p14:creationId xmlns:p14="http://schemas.microsoft.com/office/powerpoint/2010/main" val="16440677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Content Open No Footer line">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74639CAE-8D41-42E0-96FE-C35DA93817F4}"/>
              </a:ext>
            </a:extLst>
          </p:cNvPr>
          <p:cNvSpPr txBox="1">
            <a:spLocks noGrp="1"/>
          </p:cNvSpPr>
          <p:nvPr>
            <p:ph sz="quarter" idx="4294967295"/>
          </p:nvPr>
        </p:nvSpPr>
        <p:spPr>
          <a:xfrm>
            <a:off x="521550" y="1397838"/>
            <a:ext cx="11264054" cy="4474207"/>
          </a:xfrm>
          <a:prstGeom prst="rect">
            <a:avLst/>
          </a:prstGeom>
          <a:noFill/>
          <a:ln>
            <a:noFill/>
          </a:ln>
        </p:spPr>
        <p:txBody>
          <a:bodyPr vert="horz" wrap="square" lIns="91440" tIns="45720" rIns="91440" bIns="45720" anchor="t" anchorCtr="0" compatLnSpc="1">
            <a:noAutofit/>
          </a:bodyPr>
          <a:lstStyle>
            <a:lvl1pPr marL="230664" marR="0" lvl="0" indent="-230664" defTabSz="609448" fontAlgn="auto">
              <a:lnSpc>
                <a:spcPct val="100000"/>
              </a:lnSpc>
              <a:spcBef>
                <a:spcPts val="0"/>
              </a:spcBef>
              <a:spcAft>
                <a:spcPts val="1333"/>
              </a:spcAft>
              <a:buNone/>
              <a:tabLst/>
              <a:defRPr lang="en-US" sz="1866" b="0" i="0" u="none" strike="noStrike" cap="none" spc="0" baseline="0">
                <a:solidFill>
                  <a:srgbClr val="434549"/>
                </a:solidFill>
                <a:uFillTx/>
                <a:latin typeface="Raleway" pitchFamily="2"/>
                <a:cs typeface="Arial"/>
              </a:defRPr>
            </a:lvl1pPr>
          </a:lstStyle>
          <a:p>
            <a:pPr lvl="0"/>
            <a:r>
              <a:rPr lang="en-US"/>
              <a:t>Click to edit Master text styles</a:t>
            </a:r>
          </a:p>
        </p:txBody>
      </p:sp>
      <p:sp>
        <p:nvSpPr>
          <p:cNvPr id="3" name="Title Placeholder 1">
            <a:extLst>
              <a:ext uri="{FF2B5EF4-FFF2-40B4-BE49-F238E27FC236}">
                <a16:creationId xmlns:a16="http://schemas.microsoft.com/office/drawing/2014/main" id="{FD49E98D-EA77-4A43-9EDC-AC6D67F054D5}"/>
              </a:ext>
            </a:extLst>
          </p:cNvPr>
          <p:cNvSpPr txBox="1">
            <a:spLocks noGrp="1"/>
          </p:cNvSpPr>
          <p:nvPr>
            <p:ph type="title"/>
          </p:nvPr>
        </p:nvSpPr>
        <p:spPr>
          <a:xfrm>
            <a:off x="521550" y="274638"/>
            <a:ext cx="9942965" cy="615049"/>
          </a:xfrm>
          <a:prstGeom prst="rect">
            <a:avLst/>
          </a:prstGeom>
          <a:noFill/>
          <a:ln>
            <a:noFill/>
          </a:ln>
        </p:spPr>
        <p:txBody>
          <a:bodyPr vert="horz" wrap="square" lIns="91440" tIns="45720" rIns="91440" bIns="45720" anchor="ctr" anchorCtr="0" compatLnSpc="1">
            <a:noAutofit/>
          </a:bodyPr>
          <a:lstStyle>
            <a:lvl1pPr marL="0" marR="0" lvl="0" indent="0" defTabSz="609448" fontAlgn="auto">
              <a:lnSpc>
                <a:spcPts val="3199"/>
              </a:lnSpc>
              <a:spcBef>
                <a:spcPts val="0"/>
              </a:spcBef>
              <a:spcAft>
                <a:spcPts val="0"/>
              </a:spcAft>
              <a:tabLst/>
              <a:defRPr lang="en-US" sz="2933" b="1" i="0" u="none" strike="noStrike" cap="none" spc="0" baseline="0">
                <a:solidFill>
                  <a:srgbClr val="005B82"/>
                </a:solidFill>
                <a:uFillTx/>
                <a:latin typeface="Raleway" pitchFamily="2"/>
                <a:cs typeface="Arial"/>
              </a:defRPr>
            </a:lvl1pPr>
          </a:lstStyle>
          <a:p>
            <a:pPr lvl="0"/>
            <a:r>
              <a:rPr lang="en-US"/>
              <a:t>Click to edit Master title style</a:t>
            </a:r>
          </a:p>
        </p:txBody>
      </p:sp>
      <p:sp>
        <p:nvSpPr>
          <p:cNvPr id="9" name="Rectangle 10">
            <a:extLst>
              <a:ext uri="{FF2B5EF4-FFF2-40B4-BE49-F238E27FC236}">
                <a16:creationId xmlns:a16="http://schemas.microsoft.com/office/drawing/2014/main" id="{42208EE8-15D2-40BA-BF2A-83F1908FA4B7}"/>
              </a:ext>
            </a:extLst>
          </p:cNvPr>
          <p:cNvSpPr/>
          <p:nvPr/>
        </p:nvSpPr>
        <p:spPr>
          <a:xfrm>
            <a:off x="266701" y="6223370"/>
            <a:ext cx="2415540" cy="464820"/>
          </a:xfrm>
          <a:prstGeom prst="rect">
            <a:avLst/>
          </a:prstGeom>
          <a:noFill/>
          <a:ln cap="flat">
            <a:noFill/>
            <a:prstDash val="solid"/>
          </a:ln>
          <a:effectLst>
            <a:outerShdw dist="22997" dir="5400000" algn="tl">
              <a:srgbClr val="000000">
                <a:alpha val="35000"/>
              </a:srgbClr>
            </a:outerShdw>
          </a:effectLst>
        </p:spPr>
        <p:txBody>
          <a:bodyPr vert="horz" wrap="square" lIns="121888" tIns="60944" rIns="121888" bIns="60944" anchor="ctr" anchorCtr="1" compatLnSpc="1">
            <a:noAutofit/>
          </a:bodyPr>
          <a:lstStyle/>
          <a:p>
            <a:pPr marL="0" marR="0" lvl="0" indent="0" algn="ctr" defTabSz="609448"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399" b="0" i="0" u="none" strike="noStrike" kern="1200" cap="none" spc="0" baseline="0">
              <a:solidFill>
                <a:srgbClr val="FFFFFF"/>
              </a:solidFill>
              <a:uFillTx/>
              <a:latin typeface="Calibri"/>
            </a:endParaRPr>
          </a:p>
        </p:txBody>
      </p:sp>
    </p:spTree>
    <p:extLst>
      <p:ext uri="{BB962C8B-B14F-4D97-AF65-F5344CB8AC3E}">
        <p14:creationId xmlns:p14="http://schemas.microsoft.com/office/powerpoint/2010/main" val="4221618810"/>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_Content Full Width Bullet List No Footer line">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80028F-AF4E-44A1-ABF4-CD7513B8F3B6}"/>
              </a:ext>
            </a:extLst>
          </p:cNvPr>
          <p:cNvSpPr txBox="1">
            <a:spLocks noGrp="1"/>
          </p:cNvSpPr>
          <p:nvPr>
            <p:ph type="title"/>
          </p:nvPr>
        </p:nvSpPr>
        <p:spPr>
          <a:xfrm>
            <a:off x="521550" y="274638"/>
            <a:ext cx="9841649" cy="615049"/>
          </a:xfrm>
          <a:prstGeom prst="rect">
            <a:avLst/>
          </a:prstGeom>
          <a:noFill/>
          <a:ln>
            <a:noFill/>
          </a:ln>
        </p:spPr>
        <p:txBody>
          <a:bodyPr vert="horz" wrap="square" lIns="91440" tIns="45720" rIns="91440" bIns="45720" anchor="ctr" anchorCtr="0" compatLnSpc="1">
            <a:noAutofit/>
          </a:bodyPr>
          <a:lstStyle>
            <a:lvl1pPr marL="0" marR="0" lvl="0" indent="0" defTabSz="609448" fontAlgn="auto">
              <a:lnSpc>
                <a:spcPts val="3199"/>
              </a:lnSpc>
              <a:spcBef>
                <a:spcPts val="0"/>
              </a:spcBef>
              <a:spcAft>
                <a:spcPts val="0"/>
              </a:spcAft>
              <a:tabLst/>
              <a:defRPr lang="en-US" sz="2933" b="1" i="0" u="none" strike="noStrike" cap="none" spc="0" baseline="0">
                <a:solidFill>
                  <a:srgbClr val="005B82"/>
                </a:solidFill>
                <a:uFillTx/>
                <a:latin typeface="Raleway" pitchFamily="2"/>
                <a:cs typeface="Arial"/>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DFCDA02F-32F0-4559-8244-A1C168F1FB87}"/>
              </a:ext>
            </a:extLst>
          </p:cNvPr>
          <p:cNvSpPr txBox="1">
            <a:spLocks noGrp="1"/>
          </p:cNvSpPr>
          <p:nvPr>
            <p:ph sz="quarter" idx="4294967295"/>
          </p:nvPr>
        </p:nvSpPr>
        <p:spPr>
          <a:xfrm>
            <a:off x="529316" y="1397838"/>
            <a:ext cx="11256288" cy="4474207"/>
          </a:xfrm>
          <a:prstGeom prst="rect">
            <a:avLst/>
          </a:prstGeom>
          <a:noFill/>
          <a:ln>
            <a:noFill/>
          </a:ln>
        </p:spPr>
        <p:txBody>
          <a:bodyPr vert="horz" wrap="square" lIns="91440" tIns="45720" rIns="91440" bIns="45720" anchor="t" anchorCtr="0" compatLnSpc="1">
            <a:noAutofit/>
          </a:bodyPr>
          <a:lstStyle>
            <a:lvl1pPr marL="230664" marR="0" lvl="0" indent="-230664" defTabSz="609448" fontAlgn="auto">
              <a:lnSpc>
                <a:spcPct val="100000"/>
              </a:lnSpc>
              <a:spcBef>
                <a:spcPts val="0"/>
              </a:spcBef>
              <a:spcAft>
                <a:spcPts val="1333"/>
              </a:spcAft>
              <a:buNone/>
              <a:tabLst/>
              <a:defRPr lang="en-US" sz="1866" b="0" i="0" u="none" strike="noStrike" cap="none" spc="0" baseline="0">
                <a:solidFill>
                  <a:srgbClr val="434549"/>
                </a:solidFill>
                <a:uFillTx/>
                <a:latin typeface="Raleway" pitchFamily="2"/>
                <a:cs typeface="Arial"/>
              </a:defRPr>
            </a:lvl1pPr>
            <a:lvl2pPr marL="535387" marR="0" lvl="1" indent="-230664" defTabSz="609448" fontAlgn="auto">
              <a:lnSpc>
                <a:spcPct val="100000"/>
              </a:lnSpc>
              <a:spcBef>
                <a:spcPts val="0"/>
              </a:spcBef>
              <a:spcAft>
                <a:spcPts val="1333"/>
              </a:spcAft>
              <a:buClr>
                <a:srgbClr val="F07559"/>
              </a:buClr>
              <a:buSzPct val="75000"/>
              <a:buFont typeface="System Font Regular"/>
              <a:buChar char="&gt;"/>
              <a:tabLst/>
              <a:defRPr lang="en-US" sz="1600" b="0" i="0" u="none" strike="noStrike" cap="none" spc="0" baseline="0">
                <a:solidFill>
                  <a:srgbClr val="434549"/>
                </a:solidFill>
                <a:uFillTx/>
                <a:latin typeface="Raleway" pitchFamily="2"/>
                <a:cs typeface="Arial"/>
              </a:defRPr>
            </a:lvl2pPr>
            <a:lvl3pPr marL="840111" marR="0" lvl="2" indent="-230664" defTabSz="609448" fontAlgn="auto">
              <a:lnSpc>
                <a:spcPct val="100000"/>
              </a:lnSpc>
              <a:spcBef>
                <a:spcPts val="0"/>
              </a:spcBef>
              <a:spcAft>
                <a:spcPts val="1333"/>
              </a:spcAft>
              <a:buClr>
                <a:srgbClr val="F07559"/>
              </a:buClr>
              <a:buSzPct val="75000"/>
              <a:buFont typeface="System Font Regular"/>
              <a:buChar char="&gt;"/>
              <a:tabLst/>
              <a:defRPr lang="en-US" sz="1600" b="0" i="0" u="none" strike="noStrike" cap="none" spc="0" baseline="0">
                <a:solidFill>
                  <a:srgbClr val="434549"/>
                </a:solidFill>
                <a:uFillTx/>
                <a:latin typeface="Raleway" pitchFamily="2"/>
                <a:cs typeface="Arial"/>
              </a:defRPr>
            </a:lvl3pPr>
            <a:lvl4pPr marL="1144835" marR="0" lvl="3" indent="-230664" defTabSz="609448" fontAlgn="auto">
              <a:lnSpc>
                <a:spcPct val="100000"/>
              </a:lnSpc>
              <a:spcBef>
                <a:spcPts val="0"/>
              </a:spcBef>
              <a:spcAft>
                <a:spcPts val="1333"/>
              </a:spcAft>
              <a:buClr>
                <a:srgbClr val="F07559"/>
              </a:buClr>
              <a:buSzPct val="75000"/>
              <a:buFont typeface="System Font Regular"/>
              <a:buChar char="&gt;"/>
              <a:tabLst/>
              <a:defRPr lang="en-US" sz="1600" b="0" i="0" u="none" strike="noStrike" cap="none" spc="0" baseline="0">
                <a:solidFill>
                  <a:srgbClr val="434549"/>
                </a:solidFill>
                <a:uFillTx/>
                <a:latin typeface="Raleway" pitchFamily="2"/>
                <a:cs typeface="Arial"/>
              </a:defRPr>
            </a:lvl4pPr>
            <a:lvl5pPr marL="1449559" marR="0" lvl="4" indent="-230664" defTabSz="609448" fontAlgn="auto">
              <a:lnSpc>
                <a:spcPct val="100000"/>
              </a:lnSpc>
              <a:spcBef>
                <a:spcPts val="0"/>
              </a:spcBef>
              <a:spcAft>
                <a:spcPts val="1333"/>
              </a:spcAft>
              <a:buClr>
                <a:srgbClr val="F07559"/>
              </a:buClr>
              <a:buSzPct val="75000"/>
              <a:buFont typeface="System Font Regular"/>
              <a:buChar char="&gt;"/>
              <a:tabLst/>
              <a:defRPr lang="en-US" sz="1600" b="0" i="0" u="none" strike="noStrike" cap="none" spc="0" baseline="0">
                <a:solidFill>
                  <a:srgbClr val="434549"/>
                </a:solidFill>
                <a:uFillTx/>
                <a:latin typeface="Raleway" pitchFamily="2"/>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7">
            <a:extLst>
              <a:ext uri="{FF2B5EF4-FFF2-40B4-BE49-F238E27FC236}">
                <a16:creationId xmlns:a16="http://schemas.microsoft.com/office/drawing/2014/main" id="{84843EE9-685F-4ECB-9D50-1D720FCB15C2}"/>
              </a:ext>
            </a:extLst>
          </p:cNvPr>
          <p:cNvSpPr/>
          <p:nvPr/>
        </p:nvSpPr>
        <p:spPr>
          <a:xfrm>
            <a:off x="266701" y="6223370"/>
            <a:ext cx="2415540" cy="464820"/>
          </a:xfrm>
          <a:prstGeom prst="rect">
            <a:avLst/>
          </a:prstGeom>
          <a:noFill/>
          <a:ln cap="flat">
            <a:noFill/>
            <a:prstDash val="solid"/>
          </a:ln>
          <a:effectLst>
            <a:outerShdw dist="22997" dir="5400000" algn="tl">
              <a:srgbClr val="000000">
                <a:alpha val="35000"/>
              </a:srgbClr>
            </a:outerShdw>
          </a:effectLst>
        </p:spPr>
        <p:txBody>
          <a:bodyPr vert="horz" wrap="square" lIns="121888" tIns="60944" rIns="121888" bIns="60944" anchor="ctr" anchorCtr="1" compatLnSpc="1">
            <a:noAutofit/>
          </a:bodyPr>
          <a:lstStyle/>
          <a:p>
            <a:pPr marL="0" marR="0" lvl="0" indent="0" algn="ctr" defTabSz="609448"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2399" b="0" i="0" u="none" strike="noStrike" kern="1200" cap="none" spc="0" baseline="0">
              <a:solidFill>
                <a:srgbClr val="FFFFFF"/>
              </a:solidFill>
              <a:uFillTx/>
              <a:latin typeface="Calibri"/>
            </a:endParaRPr>
          </a:p>
        </p:txBody>
      </p:sp>
    </p:spTree>
    <p:extLst>
      <p:ext uri="{BB962C8B-B14F-4D97-AF65-F5344CB8AC3E}">
        <p14:creationId xmlns:p14="http://schemas.microsoft.com/office/powerpoint/2010/main" val="17703653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ontent - Open - No Footer 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521547" y="1397837"/>
            <a:ext cx="11369672" cy="4474203"/>
          </a:xfrm>
          <a:prstGeom prst="rect">
            <a:avLst/>
          </a:prstGeom>
        </p:spPr>
        <p:txBody>
          <a:bodyPr/>
          <a:lstStyle>
            <a:lvl1pPr>
              <a:buClr>
                <a:srgbClr val="F5BE59"/>
              </a:buClr>
              <a:buSzPct val="99000"/>
              <a:buFontTx/>
              <a:buNone/>
              <a:defRPr sz="1866" b="0" i="0">
                <a:latin typeface="Raleway" pitchFamily="2" charset="77"/>
              </a:defRPr>
            </a:lvl1pPr>
            <a:lvl2pPr>
              <a:buClr>
                <a:srgbClr val="F07559"/>
              </a:buClr>
              <a:buSzPct val="99000"/>
              <a:buFontTx/>
              <a:buNone/>
              <a:defRPr b="0" i="0">
                <a:latin typeface="Raleway" pitchFamily="2" charset="77"/>
              </a:defRPr>
            </a:lvl2pPr>
            <a:lvl3pPr>
              <a:buClr>
                <a:srgbClr val="F07559"/>
              </a:buClr>
              <a:buSzPct val="99000"/>
              <a:buFontTx/>
              <a:buNone/>
              <a:defRPr b="0" i="0">
                <a:latin typeface="Raleway" pitchFamily="2" charset="77"/>
              </a:defRPr>
            </a:lvl3pPr>
            <a:lvl4pPr>
              <a:buClr>
                <a:srgbClr val="F07559"/>
              </a:buClr>
              <a:buSzPct val="99000"/>
              <a:buFontTx/>
              <a:buNone/>
              <a:defRPr b="0" i="0">
                <a:latin typeface="Raleway" pitchFamily="2" charset="77"/>
              </a:defRPr>
            </a:lvl4pPr>
            <a:lvl5pPr>
              <a:buClr>
                <a:srgbClr val="F07559"/>
              </a:buClr>
              <a:buSzPct val="99000"/>
              <a:buFontTx/>
              <a:buNone/>
              <a:defRPr b="0" i="0">
                <a:latin typeface="Raleway" pitchFamily="2" charset="77"/>
              </a:defRPr>
            </a:lvl5pPr>
          </a:lstStyle>
          <a:p>
            <a:pPr lvl="0"/>
            <a:r>
              <a:rPr lang="en-US" dirty="0"/>
              <a:t>Click to edit Master text styles</a:t>
            </a:r>
          </a:p>
        </p:txBody>
      </p:sp>
      <p:sp>
        <p:nvSpPr>
          <p:cNvPr id="9" name="Title Placeholder 1">
            <a:extLst>
              <a:ext uri="{FF2B5EF4-FFF2-40B4-BE49-F238E27FC236}">
                <a16:creationId xmlns:a16="http://schemas.microsoft.com/office/drawing/2014/main" id="{1AD278CE-41E2-DF4E-947E-60507F60E55C}"/>
              </a:ext>
            </a:extLst>
          </p:cNvPr>
          <p:cNvSpPr>
            <a:spLocks noGrp="1"/>
          </p:cNvSpPr>
          <p:nvPr>
            <p:ph type="title"/>
          </p:nvPr>
        </p:nvSpPr>
        <p:spPr>
          <a:xfrm>
            <a:off x="521547" y="274639"/>
            <a:ext cx="11369672" cy="615048"/>
          </a:xfrm>
          <a:prstGeom prst="rect">
            <a:avLst/>
          </a:prstGeom>
          <a:noFill/>
        </p:spPr>
        <p:txBody>
          <a:bodyPr vert="horz" lIns="91440" tIns="45720" rIns="91440" bIns="45720" rtlCol="0" anchor="ctr">
            <a:noAutofit/>
          </a:bodyPr>
          <a:lstStyle>
            <a:lvl1pPr>
              <a:defRPr b="1" i="0">
                <a:solidFill>
                  <a:srgbClr val="005B82"/>
                </a:solidFill>
                <a:latin typeface="Raleway" pitchFamily="2" charset="77"/>
              </a:defRPr>
            </a:lvl1pPr>
          </a:lstStyle>
          <a:p>
            <a:r>
              <a:rPr lang="en-US" dirty="0"/>
              <a:t>Click to edit Master title style</a:t>
            </a:r>
          </a:p>
        </p:txBody>
      </p:sp>
      <p:sp>
        <p:nvSpPr>
          <p:cNvPr id="11" name="Rectangle 10">
            <a:extLst>
              <a:ext uri="{FF2B5EF4-FFF2-40B4-BE49-F238E27FC236}">
                <a16:creationId xmlns:a16="http://schemas.microsoft.com/office/drawing/2014/main" id="{9E58D498-5B4D-0E42-AD6A-F39AE9144CEA}"/>
              </a:ext>
            </a:extLst>
          </p:cNvPr>
          <p:cNvSpPr/>
          <p:nvPr userDrawn="1"/>
        </p:nvSpPr>
        <p:spPr>
          <a:xfrm>
            <a:off x="266701" y="6223369"/>
            <a:ext cx="2415540" cy="46482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9"/>
          </a:p>
        </p:txBody>
      </p:sp>
    </p:spTree>
    <p:extLst>
      <p:ext uri="{BB962C8B-B14F-4D97-AF65-F5344CB8AC3E}">
        <p14:creationId xmlns:p14="http://schemas.microsoft.com/office/powerpoint/2010/main" val="36843635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Heading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B255719-D9D4-CE45-A0AB-E6DDEE6B3AC5}"/>
              </a:ext>
            </a:extLst>
          </p:cNvPr>
          <p:cNvPicPr>
            <a:picLocks noChangeAspect="1"/>
          </p:cNvPicPr>
          <p:nvPr userDrawn="1"/>
        </p:nvPicPr>
        <p:blipFill rotWithShape="1">
          <a:blip r:embed="rId2"/>
          <a:srcRect l="-1282" t="10509" r="17948" b="10544"/>
          <a:stretch/>
        </p:blipFill>
        <p:spPr>
          <a:xfrm>
            <a:off x="6249824" y="0"/>
            <a:ext cx="5943600" cy="6858000"/>
          </a:xfrm>
          <a:prstGeom prst="rect">
            <a:avLst/>
          </a:prstGeom>
        </p:spPr>
      </p:pic>
      <p:sp>
        <p:nvSpPr>
          <p:cNvPr id="9" name="Rectangle 8">
            <a:extLst>
              <a:ext uri="{FF2B5EF4-FFF2-40B4-BE49-F238E27FC236}">
                <a16:creationId xmlns:a16="http://schemas.microsoft.com/office/drawing/2014/main" id="{D61F427D-C2A8-F04B-9D78-324A73C5B95F}"/>
              </a:ext>
            </a:extLst>
          </p:cNvPr>
          <p:cNvSpPr/>
          <p:nvPr userDrawn="1"/>
        </p:nvSpPr>
        <p:spPr>
          <a:xfrm>
            <a:off x="1" y="6356350"/>
            <a:ext cx="12192000" cy="501650"/>
          </a:xfrm>
          <a:prstGeom prst="rect">
            <a:avLst/>
          </a:prstGeom>
          <a:solidFill>
            <a:srgbClr val="00313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b="0" i="0" dirty="0">
              <a:latin typeface="DIN Round OT" panose="020B0504020201020104" pitchFamily="34" charset="77"/>
            </a:endParaRPr>
          </a:p>
        </p:txBody>
      </p:sp>
      <p:sp>
        <p:nvSpPr>
          <p:cNvPr id="6" name="Rectangle 5">
            <a:extLst>
              <a:ext uri="{FF2B5EF4-FFF2-40B4-BE49-F238E27FC236}">
                <a16:creationId xmlns:a16="http://schemas.microsoft.com/office/drawing/2014/main" id="{4A0C677D-7BC4-DB46-8DE1-D40A6CFEA0ED}"/>
              </a:ext>
            </a:extLst>
          </p:cNvPr>
          <p:cNvSpPr/>
          <p:nvPr/>
        </p:nvSpPr>
        <p:spPr>
          <a:xfrm>
            <a:off x="1" y="6356350"/>
            <a:ext cx="12192000" cy="501650"/>
          </a:xfrm>
          <a:prstGeom prst="rect">
            <a:avLst/>
          </a:prstGeom>
          <a:solidFill>
            <a:srgbClr val="003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b="0" i="0" dirty="0">
              <a:latin typeface="DIN Round OT" panose="020B0504020201020104" pitchFamily="34" charset="77"/>
            </a:endParaRPr>
          </a:p>
        </p:txBody>
      </p:sp>
      <p:sp>
        <p:nvSpPr>
          <p:cNvPr id="2" name="Title 1">
            <a:extLst>
              <a:ext uri="{FF2B5EF4-FFF2-40B4-BE49-F238E27FC236}">
                <a16:creationId xmlns:a16="http://schemas.microsoft.com/office/drawing/2014/main" id="{21F2DCF7-D00E-814D-AC4A-606694B4C51C}"/>
              </a:ext>
            </a:extLst>
          </p:cNvPr>
          <p:cNvSpPr>
            <a:spLocks noGrp="1"/>
          </p:cNvSpPr>
          <p:nvPr>
            <p:ph type="title"/>
          </p:nvPr>
        </p:nvSpPr>
        <p:spPr>
          <a:xfrm>
            <a:off x="1409700" y="296015"/>
            <a:ext cx="10243324" cy="1325563"/>
          </a:xfrm>
        </p:spPr>
        <p:txBody>
          <a:bodyPr/>
          <a:lstStyle/>
          <a:p>
            <a:r>
              <a:rPr lang="en-US" dirty="0"/>
              <a:t>Click to edit Master title style</a:t>
            </a:r>
          </a:p>
        </p:txBody>
      </p:sp>
      <p:sp>
        <p:nvSpPr>
          <p:cNvPr id="8" name="Footer Placeholder 4">
            <a:extLst>
              <a:ext uri="{FF2B5EF4-FFF2-40B4-BE49-F238E27FC236}">
                <a16:creationId xmlns:a16="http://schemas.microsoft.com/office/drawing/2014/main" id="{0630774D-75C1-2149-9AC1-153A54217351}"/>
              </a:ext>
            </a:extLst>
          </p:cNvPr>
          <p:cNvSpPr>
            <a:spLocks noGrp="1"/>
          </p:cNvSpPr>
          <p:nvPr>
            <p:ph type="ftr" sz="quarter" idx="3"/>
          </p:nvPr>
        </p:nvSpPr>
        <p:spPr>
          <a:xfrm>
            <a:off x="244814" y="6424276"/>
            <a:ext cx="4114800" cy="365125"/>
          </a:xfrm>
          <a:prstGeom prst="rect">
            <a:avLst/>
          </a:prstGeom>
        </p:spPr>
        <p:txBody>
          <a:bodyPr vert="horz" lIns="91440" tIns="45720" rIns="91440" bIns="45720" rtlCol="0" anchor="ctr"/>
          <a:lstStyle>
            <a:lvl1pPr algn="l">
              <a:defRPr sz="800" baseline="0">
                <a:solidFill>
                  <a:schemeClr val="bg1"/>
                </a:solidFill>
                <a:latin typeface="DIN Round OT" panose="020B0504020201020104" pitchFamily="34" charset="77"/>
              </a:defRPr>
            </a:lvl1pPr>
          </a:lstStyle>
          <a:p>
            <a:r>
              <a:rPr lang="en-US" dirty="0"/>
              <a:t>© 2019 Sontiq, Inc. | All Rights Reserved. Confidential and Proprietary.</a:t>
            </a:r>
          </a:p>
        </p:txBody>
      </p:sp>
      <p:sp>
        <p:nvSpPr>
          <p:cNvPr id="11" name="Slide Number Placeholder 5">
            <a:extLst>
              <a:ext uri="{FF2B5EF4-FFF2-40B4-BE49-F238E27FC236}">
                <a16:creationId xmlns:a16="http://schemas.microsoft.com/office/drawing/2014/main" id="{9F24D4EF-B2A6-4774-98F9-0B5C28440D16}"/>
              </a:ext>
            </a:extLst>
          </p:cNvPr>
          <p:cNvSpPr>
            <a:spLocks noGrp="1"/>
          </p:cNvSpPr>
          <p:nvPr>
            <p:ph type="sldNum" sz="quarter" idx="4"/>
          </p:nvPr>
        </p:nvSpPr>
        <p:spPr>
          <a:xfrm>
            <a:off x="10998513" y="6424276"/>
            <a:ext cx="1032753" cy="365125"/>
          </a:xfrm>
          <a:prstGeom prst="rect">
            <a:avLst/>
          </a:prstGeom>
        </p:spPr>
        <p:txBody>
          <a:bodyPr vert="horz" lIns="91440" tIns="45720" rIns="91440" bIns="45720" rtlCol="0" anchor="ctr"/>
          <a:lstStyle>
            <a:lvl1pPr algn="r">
              <a:defRPr sz="1050" baseline="0">
                <a:solidFill>
                  <a:schemeClr val="bg1"/>
                </a:solidFill>
                <a:latin typeface="Gisha" panose="020B0502040204020203" pitchFamily="34" charset="-79"/>
                <a:cs typeface="Gisha" panose="020B0502040204020203" pitchFamily="34" charset="-79"/>
              </a:defRPr>
            </a:lvl1pPr>
          </a:lstStyle>
          <a:p>
            <a:r>
              <a:rPr lang="en-US" dirty="0"/>
              <a:t>Page | </a:t>
            </a:r>
            <a:fld id="{3FE8E774-1E7E-354F-96A3-A0EA5FC3684D}" type="slidenum">
              <a:rPr lang="en-US" smtClean="0"/>
              <a:pPr/>
              <a:t>‹#›</a:t>
            </a:fld>
            <a:endParaRPr lang="en-US" dirty="0"/>
          </a:p>
        </p:txBody>
      </p:sp>
    </p:spTree>
    <p:extLst>
      <p:ext uri="{BB962C8B-B14F-4D97-AF65-F5344CB8AC3E}">
        <p14:creationId xmlns:p14="http://schemas.microsoft.com/office/powerpoint/2010/main" val="21482151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8463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Header, Content, &amp; Photo">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0422B8-6737-4ABA-A155-589BB84A30F8}"/>
              </a:ext>
            </a:extLst>
          </p:cNvPr>
          <p:cNvSpPr/>
          <p:nvPr userDrawn="1"/>
        </p:nvSpPr>
        <p:spPr>
          <a:xfrm>
            <a:off x="1" y="6356350"/>
            <a:ext cx="12192000" cy="501651"/>
          </a:xfrm>
          <a:prstGeom prst="rect">
            <a:avLst/>
          </a:prstGeom>
          <a:solidFill>
            <a:srgbClr val="003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DIN Round OT" panose="020B0504020201020104" pitchFamily="34" charset="77"/>
            </a:endParaRPr>
          </a:p>
        </p:txBody>
      </p:sp>
      <p:sp>
        <p:nvSpPr>
          <p:cNvPr id="2" name="Title 1">
            <a:extLst>
              <a:ext uri="{FF2B5EF4-FFF2-40B4-BE49-F238E27FC236}">
                <a16:creationId xmlns:a16="http://schemas.microsoft.com/office/drawing/2014/main" id="{D1588A06-849A-CB49-9710-0EF08E2710EE}"/>
              </a:ext>
            </a:extLst>
          </p:cNvPr>
          <p:cNvSpPr>
            <a:spLocks noGrp="1"/>
          </p:cNvSpPr>
          <p:nvPr>
            <p:ph type="title"/>
          </p:nvPr>
        </p:nvSpPr>
        <p:spPr>
          <a:xfrm>
            <a:off x="669073" y="207238"/>
            <a:ext cx="5983405" cy="2431203"/>
          </a:xfrm>
        </p:spPr>
        <p:txBody>
          <a:bodyPr anchor="b" anchorCtr="0">
            <a:normAutofit/>
          </a:bodyPr>
          <a:lstStyle>
            <a:lvl1pPr>
              <a:defRPr sz="3999" baseline="0"/>
            </a:lvl1pPr>
          </a:lstStyle>
          <a:p>
            <a:r>
              <a:rPr lang="en-US"/>
              <a:t>Click to edit Master title style</a:t>
            </a:r>
          </a:p>
        </p:txBody>
      </p:sp>
      <p:sp>
        <p:nvSpPr>
          <p:cNvPr id="3" name="Content Placeholder 2">
            <a:extLst>
              <a:ext uri="{FF2B5EF4-FFF2-40B4-BE49-F238E27FC236}">
                <a16:creationId xmlns:a16="http://schemas.microsoft.com/office/drawing/2014/main" id="{06499BEE-3197-C040-B376-ECB37EC2AC6E}"/>
              </a:ext>
            </a:extLst>
          </p:cNvPr>
          <p:cNvSpPr>
            <a:spLocks noGrp="1"/>
          </p:cNvSpPr>
          <p:nvPr>
            <p:ph idx="1"/>
          </p:nvPr>
        </p:nvSpPr>
        <p:spPr>
          <a:xfrm>
            <a:off x="647701" y="2733309"/>
            <a:ext cx="6006019" cy="3433321"/>
          </a:xfrm>
        </p:spPr>
        <p:txBody>
          <a:bodyPr>
            <a:normAutofit/>
          </a:bodyPr>
          <a:lstStyle>
            <a:lvl1pPr marL="457064" indent="-457064">
              <a:buFont typeface="Arial" panose="020B0604020202020204" pitchFamily="34" charset="0"/>
              <a:buChar char="•"/>
              <a:defRPr sz="2799" baseline="0"/>
            </a:lvl1pPr>
          </a:lstStyle>
          <a:p>
            <a:pPr lvl="0"/>
            <a:r>
              <a:rPr lang="en-US"/>
              <a:t>Click to edit Master text styles</a:t>
            </a:r>
          </a:p>
        </p:txBody>
      </p:sp>
      <p:sp>
        <p:nvSpPr>
          <p:cNvPr id="14" name="Footer Placeholder 4">
            <a:extLst>
              <a:ext uri="{FF2B5EF4-FFF2-40B4-BE49-F238E27FC236}">
                <a16:creationId xmlns:a16="http://schemas.microsoft.com/office/drawing/2014/main" id="{819026B7-9414-D043-B100-94F651670B1F}"/>
              </a:ext>
            </a:extLst>
          </p:cNvPr>
          <p:cNvSpPr>
            <a:spLocks noGrp="1"/>
          </p:cNvSpPr>
          <p:nvPr>
            <p:ph type="ftr" sz="quarter" idx="3"/>
          </p:nvPr>
        </p:nvSpPr>
        <p:spPr>
          <a:xfrm>
            <a:off x="244815" y="6424277"/>
            <a:ext cx="4114800" cy="365125"/>
          </a:xfrm>
          <a:prstGeom prst="rect">
            <a:avLst/>
          </a:prstGeom>
        </p:spPr>
        <p:txBody>
          <a:bodyPr vert="horz" lIns="91440" tIns="45720" rIns="91440" bIns="45720" rtlCol="0" anchor="ctr"/>
          <a:lstStyle>
            <a:lvl1pPr algn="l">
              <a:defRPr sz="800" baseline="0">
                <a:solidFill>
                  <a:schemeClr val="bg1"/>
                </a:solidFill>
                <a:latin typeface="Gisha" panose="020B0502040204020203" pitchFamily="34" charset="-79"/>
                <a:cs typeface="Gisha" panose="020B0502040204020203" pitchFamily="34" charset="-79"/>
              </a:defRPr>
            </a:lvl1pPr>
          </a:lstStyle>
          <a:p>
            <a:r>
              <a:rPr lang="en-US"/>
              <a:t>© 2021 Sontiq, Inc. | All Rights Reserved. Confidential and Proprietary.</a:t>
            </a:r>
          </a:p>
        </p:txBody>
      </p:sp>
      <p:sp>
        <p:nvSpPr>
          <p:cNvPr id="9" name="Slide Number Placeholder 5">
            <a:extLst>
              <a:ext uri="{FF2B5EF4-FFF2-40B4-BE49-F238E27FC236}">
                <a16:creationId xmlns:a16="http://schemas.microsoft.com/office/drawing/2014/main" id="{26EEDB3B-C3D9-437D-8C1F-A4B3C5C13D36}"/>
              </a:ext>
            </a:extLst>
          </p:cNvPr>
          <p:cNvSpPr>
            <a:spLocks noGrp="1"/>
          </p:cNvSpPr>
          <p:nvPr>
            <p:ph type="sldNum" sz="quarter" idx="4"/>
          </p:nvPr>
        </p:nvSpPr>
        <p:spPr>
          <a:xfrm>
            <a:off x="10998517" y="6424277"/>
            <a:ext cx="1032753" cy="365125"/>
          </a:xfrm>
          <a:prstGeom prst="rect">
            <a:avLst/>
          </a:prstGeom>
        </p:spPr>
        <p:txBody>
          <a:bodyPr vert="horz" lIns="91440" tIns="45720" rIns="91440" bIns="45720" rtlCol="0" anchor="ctr"/>
          <a:lstStyle>
            <a:lvl1pPr algn="r">
              <a:defRPr sz="800" baseline="0">
                <a:solidFill>
                  <a:schemeClr val="bg1"/>
                </a:solidFill>
                <a:latin typeface="Gisha" panose="020B0502040204020203" pitchFamily="34" charset="-79"/>
                <a:cs typeface="Gisha" panose="020B0502040204020203" pitchFamily="34" charset="-79"/>
              </a:defRPr>
            </a:lvl1pPr>
          </a:lstStyle>
          <a:p>
            <a:r>
              <a:rPr lang="en-US"/>
              <a:t>Page | </a:t>
            </a:r>
            <a:fld id="{3FE8E774-1E7E-354F-96A3-A0EA5FC3684D}" type="slidenum">
              <a:rPr lang="en-US" smtClean="0"/>
              <a:pPr/>
              <a:t>‹#›</a:t>
            </a:fld>
            <a:endParaRPr lang="en-US"/>
          </a:p>
        </p:txBody>
      </p:sp>
      <p:sp>
        <p:nvSpPr>
          <p:cNvPr id="13" name="Picture Placeholder 10">
            <a:extLst>
              <a:ext uri="{FF2B5EF4-FFF2-40B4-BE49-F238E27FC236}">
                <a16:creationId xmlns:a16="http://schemas.microsoft.com/office/drawing/2014/main" id="{5AF34159-701A-4389-A089-83804BCC58E7}"/>
              </a:ext>
            </a:extLst>
          </p:cNvPr>
          <p:cNvSpPr>
            <a:spLocks noGrp="1"/>
          </p:cNvSpPr>
          <p:nvPr>
            <p:ph type="pic" sz="quarter" idx="10"/>
          </p:nvPr>
        </p:nvSpPr>
        <p:spPr>
          <a:xfrm>
            <a:off x="7062285" y="1"/>
            <a:ext cx="5121783" cy="6355672"/>
          </a:xfrm>
          <a:solidFill>
            <a:srgbClr val="74AA50"/>
          </a:solidFill>
        </p:spPr>
        <p:txBody>
          <a:bodyPr/>
          <a:lstStyle>
            <a:lvl1pPr>
              <a:defRPr>
                <a:latin typeface="Gisha" panose="020B0502040204020203" pitchFamily="34" charset="-79"/>
                <a:cs typeface="Gisha" panose="020B0502040204020203" pitchFamily="34" charset="-79"/>
              </a:defRPr>
            </a:lvl1pPr>
          </a:lstStyle>
          <a:p>
            <a:r>
              <a:rPr lang="en-US"/>
              <a:t>Click icon to add picture</a:t>
            </a:r>
          </a:p>
        </p:txBody>
      </p:sp>
    </p:spTree>
    <p:extLst>
      <p:ext uri="{BB962C8B-B14F-4D97-AF65-F5344CB8AC3E}">
        <p14:creationId xmlns:p14="http://schemas.microsoft.com/office/powerpoint/2010/main" val="20349890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Header and Bullet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9F15B5F-E854-7043-BA6F-1A6D2D9E5A3D}"/>
              </a:ext>
            </a:extLst>
          </p:cNvPr>
          <p:cNvPicPr>
            <a:picLocks noChangeAspect="1"/>
          </p:cNvPicPr>
          <p:nvPr userDrawn="1"/>
        </p:nvPicPr>
        <p:blipFill rotWithShape="1">
          <a:blip r:embed="rId2"/>
          <a:srcRect l="-1282" t="10509" r="17948" b="10544"/>
          <a:stretch/>
        </p:blipFill>
        <p:spPr>
          <a:xfrm>
            <a:off x="6249824" y="0"/>
            <a:ext cx="5943600" cy="6858000"/>
          </a:xfrm>
          <a:prstGeom prst="rect">
            <a:avLst/>
          </a:prstGeom>
        </p:spPr>
      </p:pic>
      <p:sp>
        <p:nvSpPr>
          <p:cNvPr id="10" name="Rectangle 9">
            <a:extLst>
              <a:ext uri="{FF2B5EF4-FFF2-40B4-BE49-F238E27FC236}">
                <a16:creationId xmlns:a16="http://schemas.microsoft.com/office/drawing/2014/main" id="{0BD6FD0C-9387-EE42-8088-FB0CAEF7A1EA}"/>
              </a:ext>
            </a:extLst>
          </p:cNvPr>
          <p:cNvSpPr/>
          <p:nvPr userDrawn="1"/>
        </p:nvSpPr>
        <p:spPr>
          <a:xfrm>
            <a:off x="1" y="6356350"/>
            <a:ext cx="12192000" cy="501651"/>
          </a:xfrm>
          <a:prstGeom prst="rect">
            <a:avLst/>
          </a:prstGeom>
          <a:solidFill>
            <a:srgbClr val="00313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DIN Round OT" panose="020B0504020201020104" pitchFamily="34" charset="77"/>
            </a:endParaRPr>
          </a:p>
        </p:txBody>
      </p:sp>
      <p:sp>
        <p:nvSpPr>
          <p:cNvPr id="8" name="Rectangle 7">
            <a:extLst>
              <a:ext uri="{FF2B5EF4-FFF2-40B4-BE49-F238E27FC236}">
                <a16:creationId xmlns:a16="http://schemas.microsoft.com/office/drawing/2014/main" id="{CDE9BBA7-261B-0E43-B674-D35401D97E4B}"/>
              </a:ext>
            </a:extLst>
          </p:cNvPr>
          <p:cNvSpPr/>
          <p:nvPr/>
        </p:nvSpPr>
        <p:spPr>
          <a:xfrm>
            <a:off x="1" y="6356350"/>
            <a:ext cx="12192000" cy="501651"/>
          </a:xfrm>
          <a:prstGeom prst="rect">
            <a:avLst/>
          </a:prstGeom>
          <a:solidFill>
            <a:srgbClr val="003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DIN Round OT" panose="020B0504020201020104" pitchFamily="34" charset="77"/>
            </a:endParaRPr>
          </a:p>
        </p:txBody>
      </p:sp>
      <p:sp>
        <p:nvSpPr>
          <p:cNvPr id="2" name="Title 1">
            <a:extLst>
              <a:ext uri="{FF2B5EF4-FFF2-40B4-BE49-F238E27FC236}">
                <a16:creationId xmlns:a16="http://schemas.microsoft.com/office/drawing/2014/main" id="{D1588A06-849A-CB49-9710-0EF08E2710EE}"/>
              </a:ext>
            </a:extLst>
          </p:cNvPr>
          <p:cNvSpPr>
            <a:spLocks noGrp="1"/>
          </p:cNvSpPr>
          <p:nvPr>
            <p:ph type="title"/>
          </p:nvPr>
        </p:nvSpPr>
        <p:spPr>
          <a:xfrm>
            <a:off x="420624" y="137160"/>
            <a:ext cx="11610643" cy="850392"/>
          </a:xfrm>
          <a:prstGeom prst="rect">
            <a:avLst/>
          </a:prstGeom>
        </p:spPr>
        <p:txBody>
          <a:bodyPr anchor="ctr" anchorCtr="0">
            <a:normAutofit/>
          </a:bodyPr>
          <a:lstStyle>
            <a:lvl1pPr>
              <a:defRPr sz="3999"/>
            </a:lvl1pPr>
          </a:lstStyle>
          <a:p>
            <a:r>
              <a:rPr lang="en-US" dirty="0"/>
              <a:t>Click to edit Master title style</a:t>
            </a:r>
          </a:p>
        </p:txBody>
      </p:sp>
      <p:sp>
        <p:nvSpPr>
          <p:cNvPr id="3" name="Content Placeholder 2">
            <a:extLst>
              <a:ext uri="{FF2B5EF4-FFF2-40B4-BE49-F238E27FC236}">
                <a16:creationId xmlns:a16="http://schemas.microsoft.com/office/drawing/2014/main" id="{06499BEE-3197-C040-B376-ECB37EC2AC6E}"/>
              </a:ext>
            </a:extLst>
          </p:cNvPr>
          <p:cNvSpPr>
            <a:spLocks noGrp="1"/>
          </p:cNvSpPr>
          <p:nvPr>
            <p:ph idx="1"/>
          </p:nvPr>
        </p:nvSpPr>
        <p:spPr>
          <a:xfrm>
            <a:off x="647701" y="1201960"/>
            <a:ext cx="11175492" cy="4898589"/>
          </a:xfrm>
          <a:prstGeom prst="rect">
            <a:avLst/>
          </a:prstGeom>
        </p:spPr>
        <p:txBody>
          <a:bodyPr/>
          <a:lstStyle>
            <a:lvl1pPr>
              <a:spcBef>
                <a:spcPts val="100"/>
              </a:spcBef>
              <a:spcAft>
                <a:spcPts val="600"/>
              </a:spcAft>
              <a:defRPr sz="3599" b="1"/>
            </a:lvl1pPr>
            <a:lvl2pPr>
              <a:spcBef>
                <a:spcPts val="100"/>
              </a:spcBef>
              <a:spcAft>
                <a:spcPts val="600"/>
              </a:spcAft>
              <a:defRPr sz="2599">
                <a:solidFill>
                  <a:srgbClr val="00313C"/>
                </a:solidFill>
              </a:defRPr>
            </a:lvl2pPr>
            <a:lvl3pPr>
              <a:spcBef>
                <a:spcPts val="100"/>
              </a:spcBef>
              <a:spcAft>
                <a:spcPts val="600"/>
              </a:spcAft>
              <a:defRPr/>
            </a:lvl3pPr>
            <a:lvl4pPr>
              <a:spcBef>
                <a:spcPts val="100"/>
              </a:spcBef>
              <a:spcAft>
                <a:spcPts val="600"/>
              </a:spcAft>
              <a:defRPr/>
            </a:lvl4pPr>
            <a:lvl5pPr>
              <a:spcBef>
                <a:spcPts val="10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4043B286-2034-C74E-8CAC-99E8F548A7D4}"/>
              </a:ext>
            </a:extLst>
          </p:cNvPr>
          <p:cNvSpPr>
            <a:spLocks noGrp="1"/>
          </p:cNvSpPr>
          <p:nvPr>
            <p:ph type="sldNum" sz="quarter" idx="4"/>
          </p:nvPr>
        </p:nvSpPr>
        <p:spPr>
          <a:xfrm>
            <a:off x="10998514" y="6424276"/>
            <a:ext cx="1032753" cy="365125"/>
          </a:xfrm>
          <a:prstGeom prst="rect">
            <a:avLst/>
          </a:prstGeom>
        </p:spPr>
        <p:txBody>
          <a:bodyPr vert="horz" lIns="91440" tIns="45720" rIns="91440" bIns="45720" rtlCol="0" anchor="ctr"/>
          <a:lstStyle>
            <a:lvl1pPr algn="r">
              <a:defRPr sz="800" baseline="0">
                <a:solidFill>
                  <a:schemeClr val="bg1"/>
                </a:solidFill>
                <a:latin typeface="Gisha" panose="020B0502040204020203" pitchFamily="34" charset="-79"/>
                <a:cs typeface="Gisha" panose="020B0502040204020203" pitchFamily="34" charset="-79"/>
              </a:defRPr>
            </a:lvl1pPr>
          </a:lstStyle>
          <a:p>
            <a:r>
              <a:rPr lang="en-US" dirty="0"/>
              <a:t>Page | </a:t>
            </a:r>
            <a:fld id="{3FE8E774-1E7E-354F-96A3-A0EA5FC3684D}" type="slidenum">
              <a:rPr lang="en-US" smtClean="0"/>
              <a:pPr/>
              <a:t>‹#›</a:t>
            </a:fld>
            <a:endParaRPr lang="en-US" dirty="0"/>
          </a:p>
        </p:txBody>
      </p:sp>
      <p:sp>
        <p:nvSpPr>
          <p:cNvPr id="14" name="Footer Placeholder 4">
            <a:extLst>
              <a:ext uri="{FF2B5EF4-FFF2-40B4-BE49-F238E27FC236}">
                <a16:creationId xmlns:a16="http://schemas.microsoft.com/office/drawing/2014/main" id="{819026B7-9414-D043-B100-94F651670B1F}"/>
              </a:ext>
            </a:extLst>
          </p:cNvPr>
          <p:cNvSpPr>
            <a:spLocks noGrp="1"/>
          </p:cNvSpPr>
          <p:nvPr>
            <p:ph type="ftr" sz="quarter" idx="3"/>
          </p:nvPr>
        </p:nvSpPr>
        <p:spPr>
          <a:xfrm>
            <a:off x="244815" y="6424276"/>
            <a:ext cx="4114800" cy="365125"/>
          </a:xfrm>
          <a:prstGeom prst="rect">
            <a:avLst/>
          </a:prstGeom>
        </p:spPr>
        <p:txBody>
          <a:bodyPr vert="horz" lIns="91440" tIns="45720" rIns="91440" bIns="45720" rtlCol="0" anchor="ctr"/>
          <a:lstStyle>
            <a:lvl1pPr algn="l">
              <a:defRPr sz="800" baseline="0">
                <a:solidFill>
                  <a:schemeClr val="bg1"/>
                </a:solidFill>
                <a:latin typeface="Gisha" panose="020B0502040204020203" pitchFamily="34" charset="-79"/>
                <a:cs typeface="Gisha" panose="020B0502040204020203" pitchFamily="34" charset="-79"/>
              </a:defRPr>
            </a:lvl1pPr>
          </a:lstStyle>
          <a:p>
            <a:r>
              <a:rPr lang="en-US" dirty="0"/>
              <a:t>© 2021 Sontiq, Inc. | All Rights Reserved. Confidential and Proprietary.</a:t>
            </a:r>
          </a:p>
        </p:txBody>
      </p:sp>
    </p:spTree>
    <p:extLst>
      <p:ext uri="{BB962C8B-B14F-4D97-AF65-F5344CB8AC3E}">
        <p14:creationId xmlns:p14="http://schemas.microsoft.com/office/powerpoint/2010/main" val="19013823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9_Title Only">
  <p:cSld name="9_Title Only">
    <p:bg>
      <p:bgPr>
        <a:solidFill>
          <a:schemeClr val="lt1"/>
        </a:solidFill>
        <a:effectLst/>
      </p:bgPr>
    </p:bg>
    <p:spTree>
      <p:nvGrpSpPr>
        <p:cNvPr id="1" name="Shape 98"/>
        <p:cNvGrpSpPr/>
        <p:nvPr/>
      </p:nvGrpSpPr>
      <p:grpSpPr>
        <a:xfrm>
          <a:off x="0" y="0"/>
          <a:ext cx="0" cy="0"/>
          <a:chOff x="0" y="0"/>
          <a:chExt cx="0" cy="0"/>
        </a:xfrm>
      </p:grpSpPr>
      <p:sp>
        <p:nvSpPr>
          <p:cNvPr id="99" name="Google Shape;99;g8bbeb933d2_0_45"/>
          <p:cNvSpPr/>
          <p:nvPr/>
        </p:nvSpPr>
        <p:spPr>
          <a:xfrm>
            <a:off x="7924800" y="0"/>
            <a:ext cx="3962400" cy="6858000"/>
          </a:xfrm>
          <a:prstGeom prst="rect">
            <a:avLst/>
          </a:prstGeom>
          <a:solidFill>
            <a:srgbClr val="F2F2F2"/>
          </a:solidFill>
          <a:ln>
            <a:noFill/>
          </a:ln>
        </p:spPr>
        <p:txBody>
          <a:bodyPr spcFirstLastPara="1" wrap="square" lIns="91401" tIns="45688" rIns="91401" bIns="45688"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6" b="0" i="0" u="none" strike="noStrike" cap="none">
              <a:solidFill>
                <a:schemeClr val="lt1"/>
              </a:solidFill>
              <a:latin typeface="Arial"/>
              <a:ea typeface="Arial"/>
              <a:cs typeface="Arial"/>
              <a:sym typeface="Arial"/>
            </a:endParaRPr>
          </a:p>
        </p:txBody>
      </p:sp>
      <p:cxnSp>
        <p:nvCxnSpPr>
          <p:cNvPr id="100" name="Google Shape;100;g8bbeb933d2_0_45"/>
          <p:cNvCxnSpPr/>
          <p:nvPr/>
        </p:nvCxnSpPr>
        <p:spPr>
          <a:xfrm>
            <a:off x="873148" y="0"/>
            <a:ext cx="0" cy="6858000"/>
          </a:xfrm>
          <a:prstGeom prst="straightConnector1">
            <a:avLst/>
          </a:prstGeom>
          <a:noFill/>
          <a:ln w="9525" cap="flat" cmpd="sng">
            <a:solidFill>
              <a:srgbClr val="D8D8D8"/>
            </a:solidFill>
            <a:prstDash val="solid"/>
            <a:round/>
            <a:headEnd type="none" w="sm" len="sm"/>
            <a:tailEnd type="none" w="sm" len="sm"/>
          </a:ln>
        </p:spPr>
      </p:cxnSp>
      <p:sp>
        <p:nvSpPr>
          <p:cNvPr id="101" name="Google Shape;101;g8bbeb933d2_0_45"/>
          <p:cNvSpPr txBox="1">
            <a:spLocks noGrp="1"/>
          </p:cNvSpPr>
          <p:nvPr>
            <p:ph type="body" idx="1"/>
          </p:nvPr>
        </p:nvSpPr>
        <p:spPr>
          <a:xfrm>
            <a:off x="1261023" y="2046731"/>
            <a:ext cx="6127200" cy="4086000"/>
          </a:xfrm>
          <a:prstGeom prst="rect">
            <a:avLst/>
          </a:prstGeom>
          <a:noFill/>
          <a:ln>
            <a:noFill/>
          </a:ln>
        </p:spPr>
        <p:txBody>
          <a:bodyPr spcFirstLastPara="1" wrap="square" lIns="0" tIns="0" rIns="0" bIns="0" anchor="t" anchorCtr="0">
            <a:noAutofit/>
          </a:bodyPr>
          <a:lstStyle>
            <a:lvl1pPr marL="457063" marR="0" lvl="0" indent="-342797" algn="l" rtl="0">
              <a:lnSpc>
                <a:spcPct val="100000"/>
              </a:lnSpc>
              <a:spcBef>
                <a:spcPts val="0"/>
              </a:spcBef>
              <a:spcAft>
                <a:spcPts val="0"/>
              </a:spcAft>
              <a:buClr>
                <a:srgbClr val="C0504D"/>
              </a:buClr>
              <a:buSzPts val="1800"/>
              <a:buFont typeface="Arial"/>
              <a:buChar char="•"/>
              <a:defRPr sz="1799" b="0" i="0" u="none" strike="noStrike" cap="none">
                <a:solidFill>
                  <a:schemeClr val="dk1"/>
                </a:solidFill>
                <a:latin typeface="Roboto"/>
                <a:ea typeface="Roboto"/>
                <a:cs typeface="Roboto"/>
                <a:sym typeface="Roboto"/>
              </a:defRPr>
            </a:lvl1pPr>
            <a:lvl2pPr marL="914126" marR="0" lvl="1" indent="-295186" algn="l" rtl="0">
              <a:lnSpc>
                <a:spcPct val="100000"/>
              </a:lnSpc>
              <a:spcBef>
                <a:spcPts val="600"/>
              </a:spcBef>
              <a:spcAft>
                <a:spcPts val="0"/>
              </a:spcAft>
              <a:buClr>
                <a:srgbClr val="C0504D"/>
              </a:buClr>
              <a:buSzPts val="1050"/>
              <a:buFont typeface="Arial"/>
              <a:buChar char="•"/>
              <a:defRPr sz="1400" b="0" i="0" u="none" strike="noStrike" cap="none">
                <a:solidFill>
                  <a:schemeClr val="dk1"/>
                </a:solidFill>
                <a:latin typeface="Roboto"/>
                <a:ea typeface="Roboto"/>
                <a:cs typeface="Roboto"/>
                <a:sym typeface="Roboto"/>
              </a:defRPr>
            </a:lvl2pPr>
            <a:lvl3pPr marL="1371189" marR="0" lvl="2" indent="-228531" algn="l" rtl="0">
              <a:lnSpc>
                <a:spcPct val="100000"/>
              </a:lnSpc>
              <a:spcBef>
                <a:spcPts val="60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3pPr>
            <a:lvl4pPr marL="1828251" marR="0" lvl="3" indent="-228531" algn="l" rtl="0">
              <a:lnSpc>
                <a:spcPct val="100000"/>
              </a:lnSpc>
              <a:spcBef>
                <a:spcPts val="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4pPr>
            <a:lvl5pPr marL="2285314" marR="0" lvl="4" indent="-228531" algn="l" rtl="0">
              <a:lnSpc>
                <a:spcPct val="100000"/>
              </a:lnSpc>
              <a:spcBef>
                <a:spcPts val="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5pPr>
            <a:lvl6pPr marL="2742377" marR="0" lvl="5" indent="-228531" algn="l" rtl="0">
              <a:lnSpc>
                <a:spcPct val="100000"/>
              </a:lnSpc>
              <a:spcBef>
                <a:spcPts val="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6pPr>
            <a:lvl7pPr marL="3199440" marR="0" lvl="6" indent="-228531" algn="l" rtl="0">
              <a:lnSpc>
                <a:spcPct val="100000"/>
              </a:lnSpc>
              <a:spcBef>
                <a:spcPts val="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7pPr>
            <a:lvl8pPr marL="3656503" marR="0" lvl="7" indent="-228531" algn="l" rtl="0">
              <a:lnSpc>
                <a:spcPct val="100000"/>
              </a:lnSpc>
              <a:spcBef>
                <a:spcPts val="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8pPr>
            <a:lvl9pPr marL="4113566" marR="0" lvl="8" indent="-228531" algn="l" rtl="0">
              <a:lnSpc>
                <a:spcPct val="100000"/>
              </a:lnSpc>
              <a:spcBef>
                <a:spcPts val="0"/>
              </a:spcBef>
              <a:spcAft>
                <a:spcPts val="0"/>
              </a:spcAft>
              <a:buClr>
                <a:srgbClr val="000000"/>
              </a:buClr>
              <a:buSzPts val="1400"/>
              <a:buFont typeface="Arial"/>
              <a:buNone/>
              <a:defRPr sz="1866" b="0" i="0" u="none" strike="noStrike" cap="none">
                <a:solidFill>
                  <a:srgbClr val="000000"/>
                </a:solidFill>
                <a:latin typeface="Arial"/>
                <a:ea typeface="Arial"/>
                <a:cs typeface="Arial"/>
                <a:sym typeface="Arial"/>
              </a:defRPr>
            </a:lvl9pPr>
          </a:lstStyle>
          <a:p>
            <a:endParaRPr/>
          </a:p>
        </p:txBody>
      </p:sp>
      <p:cxnSp>
        <p:nvCxnSpPr>
          <p:cNvPr id="102" name="Google Shape;102;g8bbeb933d2_0_45"/>
          <p:cNvCxnSpPr/>
          <p:nvPr/>
        </p:nvCxnSpPr>
        <p:spPr>
          <a:xfrm>
            <a:off x="11887200" y="0"/>
            <a:ext cx="0" cy="6858000"/>
          </a:xfrm>
          <a:prstGeom prst="straightConnector1">
            <a:avLst/>
          </a:prstGeom>
          <a:noFill/>
          <a:ln w="9525" cap="flat" cmpd="sng">
            <a:solidFill>
              <a:srgbClr val="D8D8D8"/>
            </a:solidFill>
            <a:prstDash val="solid"/>
            <a:round/>
            <a:headEnd type="none" w="sm" len="sm"/>
            <a:tailEnd type="none" w="sm" len="sm"/>
          </a:ln>
        </p:spPr>
      </p:cxnSp>
      <p:cxnSp>
        <p:nvCxnSpPr>
          <p:cNvPr id="103" name="Google Shape;103;g8bbeb933d2_0_45"/>
          <p:cNvCxnSpPr/>
          <p:nvPr/>
        </p:nvCxnSpPr>
        <p:spPr>
          <a:xfrm>
            <a:off x="7924800" y="0"/>
            <a:ext cx="0" cy="6858000"/>
          </a:xfrm>
          <a:prstGeom prst="straightConnector1">
            <a:avLst/>
          </a:prstGeom>
          <a:noFill/>
          <a:ln w="9525" cap="flat" cmpd="sng">
            <a:solidFill>
              <a:srgbClr val="D8D8D8"/>
            </a:solidFill>
            <a:prstDash val="solid"/>
            <a:round/>
            <a:headEnd type="none" w="sm" len="sm"/>
            <a:tailEnd type="none" w="sm" len="sm"/>
          </a:ln>
        </p:spPr>
      </p:cxnSp>
      <p:sp>
        <p:nvSpPr>
          <p:cNvPr id="104" name="Google Shape;104;g8bbeb933d2_0_45"/>
          <p:cNvSpPr txBox="1"/>
          <p:nvPr/>
        </p:nvSpPr>
        <p:spPr>
          <a:xfrm>
            <a:off x="11236922" y="6381494"/>
            <a:ext cx="475500" cy="155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1"/>
              </a:buClr>
              <a:buSzPts val="800"/>
              <a:buFont typeface="Roboto"/>
              <a:buNone/>
            </a:pPr>
            <a:fld id="{00000000-1234-1234-1234-123412341234}" type="slidenum">
              <a:rPr lang="en-US" sz="800" b="1" i="0" u="none" strike="noStrike" cap="none">
                <a:solidFill>
                  <a:schemeClr val="dk1"/>
                </a:solidFill>
                <a:latin typeface="Roboto"/>
                <a:ea typeface="Roboto"/>
                <a:cs typeface="Roboto"/>
                <a:sym typeface="Roboto"/>
              </a:rPr>
              <a:pPr marL="0" marR="0" lvl="0" indent="0" algn="ctr" rtl="0">
                <a:lnSpc>
                  <a:spcPct val="100000"/>
                </a:lnSpc>
                <a:spcBef>
                  <a:spcPts val="0"/>
                </a:spcBef>
                <a:spcAft>
                  <a:spcPts val="0"/>
                </a:spcAft>
                <a:buClr>
                  <a:schemeClr val="dk1"/>
                </a:buClr>
                <a:buSzPts val="800"/>
                <a:buFont typeface="Roboto"/>
                <a:buNone/>
              </a:pPr>
              <a:t>‹#›</a:t>
            </a:fld>
            <a:endParaRPr sz="800" b="1" i="0" u="none" strike="noStrike" cap="none">
              <a:solidFill>
                <a:schemeClr val="dk1"/>
              </a:solidFill>
              <a:latin typeface="Roboto"/>
              <a:ea typeface="Roboto"/>
              <a:cs typeface="Roboto"/>
              <a:sym typeface="Roboto"/>
            </a:endParaRPr>
          </a:p>
        </p:txBody>
      </p:sp>
      <p:sp>
        <p:nvSpPr>
          <p:cNvPr id="105" name="Google Shape;105;g8bbeb933d2_0_45"/>
          <p:cNvSpPr/>
          <p:nvPr/>
        </p:nvSpPr>
        <p:spPr>
          <a:xfrm rot="-5400000">
            <a:off x="11413332" y="6468283"/>
            <a:ext cx="122752" cy="245503"/>
          </a:xfrm>
          <a:custGeom>
            <a:avLst/>
            <a:gdLst/>
            <a:ahLst/>
            <a:cxnLst/>
            <a:rect l="l" t="t" r="r" b="b"/>
            <a:pathLst>
              <a:path w="128873" h="257746" extrusionOk="0">
                <a:moveTo>
                  <a:pt x="128873" y="257746"/>
                </a:moveTo>
                <a:cubicBezTo>
                  <a:pt x="57698" y="257746"/>
                  <a:pt x="0" y="200048"/>
                  <a:pt x="0" y="128873"/>
                </a:cubicBezTo>
                <a:cubicBezTo>
                  <a:pt x="0" y="57698"/>
                  <a:pt x="57698" y="0"/>
                  <a:pt x="128873" y="0"/>
                </a:cubicBezTo>
              </a:path>
            </a:pathLst>
          </a:custGeom>
          <a:noFill/>
          <a:ln w="25400" cap="flat" cmpd="sng">
            <a:solidFill>
              <a:srgbClr val="D15127"/>
            </a:solidFill>
            <a:prstDash val="solid"/>
            <a:round/>
            <a:headEnd type="none" w="sm" len="sm"/>
            <a:tailEnd type="none" w="sm" len="sm"/>
          </a:ln>
        </p:spPr>
        <p:txBody>
          <a:bodyPr spcFirstLastPara="1" wrap="square" lIns="91401" tIns="45688" rIns="91401" bIns="45688"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6" b="0" i="0" u="none" strike="noStrike" cap="none">
              <a:solidFill>
                <a:schemeClr val="lt1"/>
              </a:solidFill>
              <a:latin typeface="Arial"/>
              <a:ea typeface="Arial"/>
              <a:cs typeface="Arial"/>
              <a:sym typeface="Arial"/>
            </a:endParaRPr>
          </a:p>
        </p:txBody>
      </p:sp>
      <p:sp>
        <p:nvSpPr>
          <p:cNvPr id="106" name="Google Shape;106;g8bbeb933d2_0_45"/>
          <p:cNvSpPr txBox="1">
            <a:spLocks noGrp="1"/>
          </p:cNvSpPr>
          <p:nvPr>
            <p:ph type="body" idx="2"/>
          </p:nvPr>
        </p:nvSpPr>
        <p:spPr>
          <a:xfrm>
            <a:off x="1261025" y="458633"/>
            <a:ext cx="6127200" cy="412800"/>
          </a:xfrm>
          <a:prstGeom prst="rect">
            <a:avLst/>
          </a:prstGeom>
          <a:noFill/>
          <a:ln>
            <a:noFill/>
          </a:ln>
        </p:spPr>
        <p:txBody>
          <a:bodyPr spcFirstLastPara="1" wrap="square" lIns="0" tIns="0" rIns="0" bIns="0" anchor="t" anchorCtr="0">
            <a:noAutofit/>
          </a:bodyPr>
          <a:lstStyle>
            <a:lvl1pPr marL="457063" lvl="0" indent="-228531" algn="l" rtl="0">
              <a:lnSpc>
                <a:spcPct val="100000"/>
              </a:lnSpc>
              <a:spcBef>
                <a:spcPts val="0"/>
              </a:spcBef>
              <a:spcAft>
                <a:spcPts val="0"/>
              </a:spcAft>
              <a:buClr>
                <a:schemeClr val="dk1"/>
              </a:buClr>
              <a:buSzPts val="1400"/>
              <a:buFont typeface="Roboto Medium"/>
              <a:buNone/>
              <a:defRPr sz="3199" b="0" i="0">
                <a:solidFill>
                  <a:schemeClr val="dk1"/>
                </a:solidFill>
                <a:latin typeface="Roboto Medium"/>
                <a:ea typeface="Roboto Medium"/>
                <a:cs typeface="Roboto Medium"/>
                <a:sym typeface="Roboto Medium"/>
              </a:defRPr>
            </a:lvl1pPr>
            <a:lvl2pPr marL="914126" lvl="1" indent="-228531" algn="l" rtl="0">
              <a:lnSpc>
                <a:spcPct val="100000"/>
              </a:lnSpc>
              <a:spcBef>
                <a:spcPts val="0"/>
              </a:spcBef>
              <a:spcAft>
                <a:spcPts val="0"/>
              </a:spcAft>
              <a:buClr>
                <a:srgbClr val="02185C"/>
              </a:buClr>
              <a:buSzPts val="1400"/>
              <a:buFont typeface="Source Sans Pro"/>
              <a:buNone/>
              <a:defRPr sz="1999">
                <a:solidFill>
                  <a:srgbClr val="02185C"/>
                </a:solidFill>
                <a:latin typeface="Source Sans Pro"/>
                <a:ea typeface="Source Sans Pro"/>
                <a:cs typeface="Source Sans Pro"/>
                <a:sym typeface="Source Sans Pro"/>
              </a:defRPr>
            </a:lvl2pPr>
            <a:lvl3pPr marL="1371189" lvl="2" indent="-228531" algn="l" rtl="0">
              <a:lnSpc>
                <a:spcPct val="100000"/>
              </a:lnSpc>
              <a:spcBef>
                <a:spcPts val="0"/>
              </a:spcBef>
              <a:spcAft>
                <a:spcPts val="0"/>
              </a:spcAft>
              <a:buClr>
                <a:srgbClr val="02185C"/>
              </a:buClr>
              <a:buSzPts val="1400"/>
              <a:buFont typeface="Source Sans Pro"/>
              <a:buNone/>
              <a:defRPr sz="1999">
                <a:solidFill>
                  <a:srgbClr val="02185C"/>
                </a:solidFill>
                <a:latin typeface="Source Sans Pro"/>
                <a:ea typeface="Source Sans Pro"/>
                <a:cs typeface="Source Sans Pro"/>
                <a:sym typeface="Source Sans Pro"/>
              </a:defRPr>
            </a:lvl3pPr>
            <a:lvl4pPr marL="1828251" lvl="3" indent="-228531" algn="l" rtl="0">
              <a:lnSpc>
                <a:spcPct val="100000"/>
              </a:lnSpc>
              <a:spcBef>
                <a:spcPts val="0"/>
              </a:spcBef>
              <a:spcAft>
                <a:spcPts val="0"/>
              </a:spcAft>
              <a:buClr>
                <a:srgbClr val="02185C"/>
              </a:buClr>
              <a:buSzPts val="1400"/>
              <a:buFont typeface="Source Sans Pro"/>
              <a:buNone/>
              <a:defRPr sz="1999">
                <a:solidFill>
                  <a:srgbClr val="02185C"/>
                </a:solidFill>
                <a:latin typeface="Source Sans Pro"/>
                <a:ea typeface="Source Sans Pro"/>
                <a:cs typeface="Source Sans Pro"/>
                <a:sym typeface="Source Sans Pro"/>
              </a:defRPr>
            </a:lvl4pPr>
            <a:lvl5pPr marL="2285314" lvl="4" indent="-228531" algn="l" rtl="0">
              <a:lnSpc>
                <a:spcPct val="100000"/>
              </a:lnSpc>
              <a:spcBef>
                <a:spcPts val="0"/>
              </a:spcBef>
              <a:spcAft>
                <a:spcPts val="0"/>
              </a:spcAft>
              <a:buClr>
                <a:srgbClr val="02185C"/>
              </a:buClr>
              <a:buSzPts val="1400"/>
              <a:buFont typeface="Source Sans Pro"/>
              <a:buNone/>
              <a:defRPr sz="1999">
                <a:solidFill>
                  <a:srgbClr val="02185C"/>
                </a:solidFill>
                <a:latin typeface="Source Sans Pro"/>
                <a:ea typeface="Source Sans Pro"/>
                <a:cs typeface="Source Sans Pro"/>
                <a:sym typeface="Source Sans Pro"/>
              </a:defRPr>
            </a:lvl5pPr>
            <a:lvl6pPr marL="2742377" lvl="5" indent="-228531" algn="l" rtl="0">
              <a:lnSpc>
                <a:spcPct val="100000"/>
              </a:lnSpc>
              <a:spcBef>
                <a:spcPts val="0"/>
              </a:spcBef>
              <a:spcAft>
                <a:spcPts val="0"/>
              </a:spcAft>
              <a:buSzPts val="1400"/>
              <a:buNone/>
              <a:defRPr/>
            </a:lvl6pPr>
            <a:lvl7pPr marL="3199440" lvl="6" indent="-228531" algn="l" rtl="0">
              <a:lnSpc>
                <a:spcPct val="100000"/>
              </a:lnSpc>
              <a:spcBef>
                <a:spcPts val="0"/>
              </a:spcBef>
              <a:spcAft>
                <a:spcPts val="0"/>
              </a:spcAft>
              <a:buSzPts val="1400"/>
              <a:buNone/>
              <a:defRPr/>
            </a:lvl7pPr>
            <a:lvl8pPr marL="3656503" lvl="7" indent="-228531" algn="l" rtl="0">
              <a:lnSpc>
                <a:spcPct val="100000"/>
              </a:lnSpc>
              <a:spcBef>
                <a:spcPts val="0"/>
              </a:spcBef>
              <a:spcAft>
                <a:spcPts val="0"/>
              </a:spcAft>
              <a:buSzPts val="1400"/>
              <a:buNone/>
              <a:defRPr/>
            </a:lvl8pPr>
            <a:lvl9pPr marL="4113566" lvl="8" indent="-228531" algn="l" rtl="0">
              <a:lnSpc>
                <a:spcPct val="100000"/>
              </a:lnSpc>
              <a:spcBef>
                <a:spcPts val="0"/>
              </a:spcBef>
              <a:spcAft>
                <a:spcPts val="0"/>
              </a:spcAft>
              <a:buSzPts val="1400"/>
              <a:buNone/>
              <a:defRPr/>
            </a:lvl9pPr>
          </a:lstStyle>
          <a:p>
            <a:endParaRPr/>
          </a:p>
        </p:txBody>
      </p:sp>
      <p:sp>
        <p:nvSpPr>
          <p:cNvPr id="107" name="Google Shape;107;g8bbeb933d2_0_45"/>
          <p:cNvSpPr/>
          <p:nvPr/>
        </p:nvSpPr>
        <p:spPr>
          <a:xfrm rot="5400000">
            <a:off x="1301107" y="1498398"/>
            <a:ext cx="72491" cy="144982"/>
          </a:xfrm>
          <a:custGeom>
            <a:avLst/>
            <a:gdLst/>
            <a:ahLst/>
            <a:cxnLst/>
            <a:rect l="l" t="t" r="r" b="b"/>
            <a:pathLst>
              <a:path w="128873" h="257746" extrusionOk="0">
                <a:moveTo>
                  <a:pt x="128873" y="257746"/>
                </a:moveTo>
                <a:cubicBezTo>
                  <a:pt x="57698" y="257746"/>
                  <a:pt x="0" y="200048"/>
                  <a:pt x="0" y="128873"/>
                </a:cubicBezTo>
                <a:cubicBezTo>
                  <a:pt x="0" y="57698"/>
                  <a:pt x="57698" y="0"/>
                  <a:pt x="128873" y="0"/>
                </a:cubicBezTo>
              </a:path>
            </a:pathLst>
          </a:custGeom>
          <a:solidFill>
            <a:srgbClr val="F9B00C"/>
          </a:solidFill>
          <a:ln>
            <a:noFill/>
          </a:ln>
        </p:spPr>
        <p:txBody>
          <a:bodyPr spcFirstLastPara="1" wrap="square" lIns="91401" tIns="45688" rIns="91401" bIns="45688" anchor="ctr" anchorCtr="0">
            <a:noAutofit/>
          </a:bodyPr>
          <a:lstStyle/>
          <a:p>
            <a:pPr marL="0" marR="0" lvl="0" indent="0" algn="ctr" rtl="0">
              <a:lnSpc>
                <a:spcPct val="100000"/>
              </a:lnSpc>
              <a:spcBef>
                <a:spcPts val="0"/>
              </a:spcBef>
              <a:spcAft>
                <a:spcPts val="0"/>
              </a:spcAft>
              <a:buClr>
                <a:srgbClr val="000000"/>
              </a:buClr>
              <a:buSzPts val="1867"/>
              <a:buFont typeface="Arial"/>
              <a:buNone/>
            </a:pPr>
            <a:endParaRPr sz="1866" b="0" i="0" u="none" strike="noStrike" cap="none">
              <a:solidFill>
                <a:schemeClr val="lt1"/>
              </a:solidFill>
              <a:latin typeface="Arial"/>
              <a:ea typeface="Arial"/>
              <a:cs typeface="Arial"/>
              <a:sym typeface="Arial"/>
            </a:endParaRPr>
          </a:p>
        </p:txBody>
      </p:sp>
      <p:sp>
        <p:nvSpPr>
          <p:cNvPr id="108" name="Google Shape;108;g8bbeb933d2_0_45"/>
          <p:cNvSpPr txBox="1"/>
          <p:nvPr/>
        </p:nvSpPr>
        <p:spPr>
          <a:xfrm>
            <a:off x="1261024" y="6581221"/>
            <a:ext cx="3054000" cy="122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95959"/>
              </a:buClr>
              <a:buSzPts val="1400"/>
              <a:buFont typeface="Roboto"/>
              <a:buNone/>
            </a:pPr>
            <a:r>
              <a:rPr lang="en-US" sz="800" b="0" i="0" u="none" strike="noStrike" cap="none">
                <a:solidFill>
                  <a:srgbClr val="595959"/>
                </a:solidFill>
                <a:latin typeface="Roboto"/>
                <a:ea typeface="Roboto"/>
                <a:cs typeface="Roboto"/>
                <a:sym typeface="Roboto"/>
              </a:rPr>
              <a:t> © CyberScout, LLC. All Rights Reserved - Confidential</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821683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White/Blue Section Breaker">
    <p:spTree>
      <p:nvGrpSpPr>
        <p:cNvPr id="1" name=""/>
        <p:cNvGrpSpPr/>
        <p:nvPr/>
      </p:nvGrpSpPr>
      <p:grpSpPr>
        <a:xfrm>
          <a:off x="0" y="0"/>
          <a:ext cx="0" cy="0"/>
          <a:chOff x="0" y="0"/>
          <a:chExt cx="0" cy="0"/>
        </a:xfrm>
      </p:grpSpPr>
      <p:sp>
        <p:nvSpPr>
          <p:cNvPr id="16"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17"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18" name="Group 17"/>
          <p:cNvGrpSpPr>
            <a:grpSpLocks noChangeAspect="1"/>
          </p:cNvGrpSpPr>
          <p:nvPr userDrawn="1"/>
        </p:nvGrpSpPr>
        <p:grpSpPr>
          <a:xfrm>
            <a:off x="9268841" y="-179386"/>
            <a:ext cx="3458895" cy="3490307"/>
            <a:chOff x="0" y="-350837"/>
            <a:chExt cx="1358900" cy="1371600"/>
          </a:xfrm>
          <a:solidFill>
            <a:schemeClr val="tx2"/>
          </a:solidFill>
        </p:grpSpPr>
        <p:sp>
          <p:nvSpPr>
            <p:cNvPr id="19" name="Freeform 18"/>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sp>
          <p:nvSpPr>
            <p:cNvPr id="20" name="Freeform 19"/>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2"/>
                </a:solidFill>
              </a:endParaRPr>
            </a:p>
          </p:txBody>
        </p:sp>
      </p:grpSp>
    </p:spTree>
    <p:extLst>
      <p:ext uri="{BB962C8B-B14F-4D97-AF65-F5344CB8AC3E}">
        <p14:creationId xmlns:p14="http://schemas.microsoft.com/office/powerpoint/2010/main" val="33715770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Sub-Section Breaker">
    <p:spTree>
      <p:nvGrpSpPr>
        <p:cNvPr id="1" name=""/>
        <p:cNvGrpSpPr/>
        <p:nvPr/>
      </p:nvGrpSpPr>
      <p:grpSpPr>
        <a:xfrm>
          <a:off x="0" y="0"/>
          <a:ext cx="0" cy="0"/>
          <a:chOff x="0" y="0"/>
          <a:chExt cx="0" cy="0"/>
        </a:xfrm>
      </p:grpSpPr>
      <p:sp>
        <p:nvSpPr>
          <p:cNvPr id="4" name="Title 1"/>
          <p:cNvSpPr>
            <a:spLocks noGrp="1"/>
          </p:cNvSpPr>
          <p:nvPr>
            <p:ph type="title"/>
          </p:nvPr>
        </p:nvSpPr>
        <p:spPr>
          <a:xfrm>
            <a:off x="924165" y="3768313"/>
            <a:ext cx="10658076" cy="661988"/>
          </a:xfrm>
          <a:prstGeom prst="rect">
            <a:avLst/>
          </a:prstGeom>
        </p:spPr>
        <p:txBody>
          <a:bodyPr anchor="t">
            <a:noAutofit/>
          </a:bodyPr>
          <a:lstStyle>
            <a:lvl1pPr algn="l">
              <a:defRPr sz="3200" b="1" cap="none">
                <a:solidFill>
                  <a:srgbClr val="000000"/>
                </a:solidFill>
              </a:defRPr>
            </a:lvl1pPr>
          </a:lstStyle>
          <a:p>
            <a:r>
              <a:rPr lang="en-US"/>
              <a:t>Click to edit Master title style</a:t>
            </a:r>
          </a:p>
        </p:txBody>
      </p:sp>
      <p:sp>
        <p:nvSpPr>
          <p:cNvPr id="5" name="Text Placeholder 2"/>
          <p:cNvSpPr>
            <a:spLocks noGrp="1"/>
          </p:cNvSpPr>
          <p:nvPr>
            <p:ph type="body" idx="1"/>
          </p:nvPr>
        </p:nvSpPr>
        <p:spPr>
          <a:xfrm>
            <a:off x="924165" y="4601602"/>
            <a:ext cx="10658076" cy="1500187"/>
          </a:xfrm>
          <a:prstGeom prst="rect">
            <a:avLst/>
          </a:prstGeom>
        </p:spPr>
        <p:txBody>
          <a:bodyPr anchor="t">
            <a:noAutofit/>
          </a:bodyPr>
          <a:lstStyle>
            <a:lvl1pPr marL="0" indent="0" algn="l">
              <a:buNone/>
              <a:defRPr sz="2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Text Placeholder 4"/>
          <p:cNvSpPr>
            <a:spLocks noGrp="1"/>
          </p:cNvSpPr>
          <p:nvPr>
            <p:ph type="body" sz="quarter" idx="10"/>
          </p:nvPr>
        </p:nvSpPr>
        <p:spPr>
          <a:xfrm>
            <a:off x="924166" y="3430589"/>
            <a:ext cx="5302044" cy="322943"/>
          </a:xfrm>
          <a:prstGeom prst="rect">
            <a:avLst/>
          </a:prstGeom>
        </p:spPr>
        <p:txBody>
          <a:bodyPr>
            <a:noAutofit/>
          </a:bodyPr>
          <a:lstStyle>
            <a:lvl1pPr marL="0" indent="0">
              <a:buNone/>
              <a:defRPr sz="180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grpSp>
        <p:nvGrpSpPr>
          <p:cNvPr id="23" name="Group 4"/>
          <p:cNvGrpSpPr>
            <a:grpSpLocks noChangeAspect="1"/>
          </p:cNvGrpSpPr>
          <p:nvPr userDrawn="1"/>
        </p:nvGrpSpPr>
        <p:grpSpPr bwMode="auto">
          <a:xfrm>
            <a:off x="10433650" y="380391"/>
            <a:ext cx="1148591" cy="299927"/>
            <a:chOff x="44" y="1156"/>
            <a:chExt cx="5628" cy="1470"/>
          </a:xfrm>
          <a:solidFill>
            <a:srgbClr val="00A6CA"/>
          </a:solidFill>
        </p:grpSpPr>
        <p:sp>
          <p:nvSpPr>
            <p:cNvPr id="24" name="Freeform 23"/>
            <p:cNvSpPr>
              <a:spLocks/>
            </p:cNvSpPr>
            <p:nvPr userDrawn="1"/>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5" name="Freeform 7"/>
            <p:cNvSpPr>
              <a:spLocks noEditPoints="1"/>
            </p:cNvSpPr>
            <p:nvPr userDrawn="1"/>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8"/>
            <p:cNvSpPr>
              <a:spLocks/>
            </p:cNvSpPr>
            <p:nvPr userDrawn="1"/>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9"/>
            <p:cNvSpPr>
              <a:spLocks/>
            </p:cNvSpPr>
            <p:nvPr userDrawn="1"/>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8" name="Freeform 10"/>
            <p:cNvSpPr>
              <a:spLocks/>
            </p:cNvSpPr>
            <p:nvPr userDrawn="1"/>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9" name="Freeform 11"/>
            <p:cNvSpPr>
              <a:spLocks/>
            </p:cNvSpPr>
            <p:nvPr userDrawn="1"/>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0" name="Rectangle 12"/>
            <p:cNvSpPr>
              <a:spLocks noChangeArrowheads="1"/>
            </p:cNvSpPr>
            <p:nvPr userDrawn="1"/>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31" name="Freeform 13"/>
            <p:cNvSpPr>
              <a:spLocks noEditPoints="1"/>
            </p:cNvSpPr>
            <p:nvPr userDrawn="1"/>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2" name="Freeform 14"/>
            <p:cNvSpPr>
              <a:spLocks/>
            </p:cNvSpPr>
            <p:nvPr userDrawn="1"/>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3" name="Freeform 15"/>
            <p:cNvSpPr>
              <a:spLocks/>
            </p:cNvSpPr>
            <p:nvPr userDrawn="1"/>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4" name="Freeform 16"/>
            <p:cNvSpPr>
              <a:spLocks/>
            </p:cNvSpPr>
            <p:nvPr userDrawn="1"/>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5" name="Freeform 17"/>
            <p:cNvSpPr>
              <a:spLocks/>
            </p:cNvSpPr>
            <p:nvPr userDrawn="1"/>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6" name="Freeform 18"/>
            <p:cNvSpPr>
              <a:spLocks/>
            </p:cNvSpPr>
            <p:nvPr userDrawn="1"/>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7" name="Freeform 19"/>
            <p:cNvSpPr>
              <a:spLocks noEditPoints="1"/>
            </p:cNvSpPr>
            <p:nvPr userDrawn="1"/>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151819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2.png"/><Relationship Id="rId5" Type="http://schemas.openxmlformats.org/officeDocument/2006/relationships/slideLayout" Target="../slideLayouts/slideLayout42.xml"/><Relationship Id="rId10" Type="http://schemas.openxmlformats.org/officeDocument/2006/relationships/theme" Target="../theme/theme3.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oleObject" Target="../embeddings/oleObject1.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tags" Target="../tags/tag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heme" Target="../theme/theme4.xml"/><Relationship Id="rId30"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60" y="1601788"/>
            <a:ext cx="10972482" cy="4505325"/>
          </a:xfrm>
          <a:prstGeom prst="rect">
            <a:avLst/>
          </a:prstGeom>
        </p:spPr>
        <p:txBody>
          <a:bodyPr vert="horz" wrap="square"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a:grpSpLocks noChangeAspect="1"/>
          </p:cNvGrpSpPr>
          <p:nvPr/>
        </p:nvGrpSpPr>
        <p:grpSpPr>
          <a:xfrm>
            <a:off x="10957244" y="-223807"/>
            <a:ext cx="1467660" cy="1481376"/>
            <a:chOff x="0" y="-350837"/>
            <a:chExt cx="1358900" cy="1371600"/>
          </a:xfrm>
        </p:grpSpPr>
        <p:sp>
          <p:nvSpPr>
            <p:cNvPr id="13" name="Freeform 5"/>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Freeform 6"/>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16" name="Rectangle 38"/>
          <p:cNvSpPr>
            <a:spLocks noChangeArrowheads="1"/>
          </p:cNvSpPr>
          <p:nvPr/>
        </p:nvSpPr>
        <p:spPr bwMode="auto">
          <a:xfrm>
            <a:off x="4949827" y="6536073"/>
            <a:ext cx="6632574" cy="117560"/>
          </a:xfrm>
          <a:prstGeom prst="rect">
            <a:avLst/>
          </a:prstGeom>
          <a:noFill/>
          <a:ln w="9525">
            <a:noFill/>
            <a:miter lim="800000"/>
            <a:headEnd/>
            <a:tailEnd/>
          </a:ln>
        </p:spPr>
        <p:txBody>
          <a:bodyPr lIns="0" tIns="0" rIns="0" bIns="0" anchor="b"/>
          <a:lstStyle/>
          <a:p>
            <a:pPr algn="r" eaLnBrk="0" hangingPunct="0"/>
            <a:r>
              <a:rPr lang="en-US" sz="1100" dirty="0">
                <a:solidFill>
                  <a:srgbClr val="000000"/>
                </a:solidFill>
                <a:latin typeface="+mn-lt"/>
                <a:cs typeface="Arial"/>
              </a:rPr>
              <a:t>© 2022 TransUnion LLC. All Rights</a:t>
            </a:r>
            <a:r>
              <a:rPr lang="en-US" sz="1100" baseline="0" dirty="0">
                <a:solidFill>
                  <a:srgbClr val="000000"/>
                </a:solidFill>
                <a:latin typeface="+mn-lt"/>
                <a:cs typeface="Arial"/>
              </a:rPr>
              <a:t> Reserved</a:t>
            </a:r>
            <a:r>
              <a:rPr lang="en-US" sz="1100" dirty="0">
                <a:solidFill>
                  <a:srgbClr val="000000"/>
                </a:solidFill>
                <a:latin typeface="+mn-lt"/>
              </a:rPr>
              <a:t>   </a:t>
            </a:r>
            <a:r>
              <a:rPr lang="en-US" sz="1100" dirty="0">
                <a:solidFill>
                  <a:srgbClr val="000000"/>
                </a:solidFill>
                <a:latin typeface="+mn-lt"/>
                <a:cs typeface="Arial"/>
              </a:rPr>
              <a:t>|   </a:t>
            </a:r>
            <a:fld id="{DDCA33D1-252A-4658-B1F4-82058961A0C0}" type="slidenum">
              <a:rPr lang="en-US" sz="1100" kern="1200" smtClean="0">
                <a:solidFill>
                  <a:srgbClr val="000000"/>
                </a:solidFill>
                <a:latin typeface="+mn-lt"/>
                <a:ea typeface="+mn-ea"/>
                <a:cs typeface="Arial"/>
              </a:rPr>
              <a:pPr algn="r" eaLnBrk="0" hangingPunct="0"/>
              <a:t>‹#›</a:t>
            </a:fld>
            <a:endParaRPr lang="en-US" sz="1100" dirty="0">
              <a:solidFill>
                <a:srgbClr val="000000"/>
              </a:solidFill>
              <a:latin typeface="+mn-lt"/>
              <a:cs typeface="Arial"/>
            </a:endParaRPr>
          </a:p>
        </p:txBody>
      </p:sp>
      <p:grpSp>
        <p:nvGrpSpPr>
          <p:cNvPr id="19" name="Group 18"/>
          <p:cNvGrpSpPr>
            <a:grpSpLocks noChangeAspect="1"/>
          </p:cNvGrpSpPr>
          <p:nvPr/>
        </p:nvGrpSpPr>
        <p:grpSpPr bwMode="auto">
          <a:xfrm>
            <a:off x="698682" y="6316752"/>
            <a:ext cx="1196968" cy="312648"/>
            <a:chOff x="44" y="1156"/>
            <a:chExt cx="5628" cy="1470"/>
          </a:xfrm>
          <a:solidFill>
            <a:schemeClr val="tx2"/>
          </a:solidFill>
        </p:grpSpPr>
        <p:sp>
          <p:nvSpPr>
            <p:cNvPr id="20" name="Freeform 19"/>
            <p:cNvSpPr>
              <a:spLocks/>
            </p:cNvSpPr>
            <p:nvPr/>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1" name="Freeform 20"/>
            <p:cNvSpPr>
              <a:spLocks noEditPoints="1"/>
            </p:cNvSpPr>
            <p:nvPr/>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2" name="Freeform 21"/>
            <p:cNvSpPr>
              <a:spLocks/>
            </p:cNvSpPr>
            <p:nvPr/>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3" name="Freeform 22"/>
            <p:cNvSpPr>
              <a:spLocks/>
            </p:cNvSpPr>
            <p:nvPr/>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4" name="Freeform 23"/>
            <p:cNvSpPr>
              <a:spLocks/>
            </p:cNvSpPr>
            <p:nvPr/>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5" name="Freeform 24"/>
            <p:cNvSpPr>
              <a:spLocks/>
            </p:cNvSpPr>
            <p:nvPr/>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6" name="Rectangle 25"/>
            <p:cNvSpPr>
              <a:spLocks noChangeArrowheads="1"/>
            </p:cNvSpPr>
            <p:nvPr/>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7" name="Freeform 26"/>
            <p:cNvSpPr>
              <a:spLocks noEditPoints="1"/>
            </p:cNvSpPr>
            <p:nvPr/>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8" name="Freeform 27"/>
            <p:cNvSpPr>
              <a:spLocks/>
            </p:cNvSpPr>
            <p:nvPr/>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9" name="Freeform 28"/>
            <p:cNvSpPr>
              <a:spLocks/>
            </p:cNvSpPr>
            <p:nvPr/>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0" name="Freeform 29"/>
            <p:cNvSpPr>
              <a:spLocks/>
            </p:cNvSpPr>
            <p:nvPr/>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1" name="Freeform 30"/>
            <p:cNvSpPr>
              <a:spLocks/>
            </p:cNvSpPr>
            <p:nvPr/>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2" name="Freeform 31"/>
            <p:cNvSpPr>
              <a:spLocks/>
            </p:cNvSpPr>
            <p:nvPr/>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3" name="Freeform 32"/>
            <p:cNvSpPr>
              <a:spLocks noEditPoints="1"/>
            </p:cNvSpPr>
            <p:nvPr/>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grpSp>
      <p:sp>
        <p:nvSpPr>
          <p:cNvPr id="2" name="Title Placeholder 1"/>
          <p:cNvSpPr>
            <a:spLocks noGrp="1"/>
          </p:cNvSpPr>
          <p:nvPr>
            <p:ph type="title"/>
          </p:nvPr>
        </p:nvSpPr>
        <p:spPr>
          <a:xfrm>
            <a:off x="609760" y="274638"/>
            <a:ext cx="10061020" cy="114300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103840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37" r:id="rId20"/>
  </p:sldLayoutIdLst>
  <p:hf hdr="0" ftr="0" dt="0"/>
  <p:txStyles>
    <p:titleStyle>
      <a:lvl1pPr algn="l" defTabSz="1218987" rtl="0" eaLnBrk="1" latinLnBrk="0" hangingPunct="1">
        <a:spcBef>
          <a:spcPct val="0"/>
        </a:spcBef>
        <a:buNone/>
        <a:defRPr sz="3200" b="1" kern="1200">
          <a:solidFill>
            <a:schemeClr val="tx1"/>
          </a:solidFill>
          <a:latin typeface="+mj-lt"/>
          <a:ea typeface="+mj-ea"/>
          <a:cs typeface="+mj-cs"/>
        </a:defRPr>
      </a:lvl1pPr>
    </p:titleStyle>
    <p:bodyStyle>
      <a:lvl1pPr marL="226444" indent="-226444"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1pPr>
      <a:lvl2pPr marL="531191" indent="-304747"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768216" indent="-237025" algn="l" defTabSz="1218987" rtl="0" eaLnBrk="1" latinLnBrk="0" hangingPunct="1">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3pPr>
      <a:lvl4pPr marL="1072963" indent="-30474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1297290" indent="-22432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760" y="1601788"/>
            <a:ext cx="10972482" cy="4505325"/>
          </a:xfrm>
          <a:prstGeom prst="rect">
            <a:avLst/>
          </a:prstGeom>
        </p:spPr>
        <p:txBody>
          <a:bodyPr vert="horz" wrap="square"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a:grpSpLocks noChangeAspect="1"/>
          </p:cNvGrpSpPr>
          <p:nvPr/>
        </p:nvGrpSpPr>
        <p:grpSpPr>
          <a:xfrm>
            <a:off x="10957244" y="-223807"/>
            <a:ext cx="1467660" cy="1481376"/>
            <a:chOff x="0" y="-350837"/>
            <a:chExt cx="1358900" cy="1371600"/>
          </a:xfrm>
        </p:grpSpPr>
        <p:sp>
          <p:nvSpPr>
            <p:cNvPr id="13" name="Freeform 5"/>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Freeform 6"/>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16" name="Rectangle 38"/>
          <p:cNvSpPr>
            <a:spLocks noChangeArrowheads="1"/>
          </p:cNvSpPr>
          <p:nvPr/>
        </p:nvSpPr>
        <p:spPr bwMode="auto">
          <a:xfrm>
            <a:off x="4949827" y="6536073"/>
            <a:ext cx="6632574" cy="117560"/>
          </a:xfrm>
          <a:prstGeom prst="rect">
            <a:avLst/>
          </a:prstGeom>
          <a:noFill/>
          <a:ln w="9525">
            <a:noFill/>
            <a:miter lim="800000"/>
            <a:headEnd/>
            <a:tailEnd/>
          </a:ln>
        </p:spPr>
        <p:txBody>
          <a:bodyPr lIns="0" tIns="0" rIns="0" bIns="0" anchor="b"/>
          <a:lstStyle/>
          <a:p>
            <a:pPr algn="r" eaLnBrk="0" hangingPunct="0"/>
            <a:r>
              <a:rPr lang="en-US" sz="1100">
                <a:solidFill>
                  <a:srgbClr val="000000"/>
                </a:solidFill>
                <a:latin typeface="+mn-lt"/>
                <a:cs typeface="Arial"/>
              </a:rPr>
              <a:t>© 2018 TransUnion LLC All Rights</a:t>
            </a:r>
            <a:r>
              <a:rPr lang="en-US" sz="1100" baseline="0">
                <a:solidFill>
                  <a:srgbClr val="000000"/>
                </a:solidFill>
                <a:latin typeface="+mn-lt"/>
                <a:cs typeface="Arial"/>
              </a:rPr>
              <a:t> Reserved</a:t>
            </a:r>
            <a:r>
              <a:rPr lang="en-US" sz="1100">
                <a:solidFill>
                  <a:srgbClr val="000000"/>
                </a:solidFill>
                <a:latin typeface="+mn-lt"/>
              </a:rPr>
              <a:t>   </a:t>
            </a:r>
            <a:r>
              <a:rPr lang="en-US" sz="1100">
                <a:solidFill>
                  <a:srgbClr val="000000"/>
                </a:solidFill>
                <a:latin typeface="+mn-lt"/>
                <a:cs typeface="Arial"/>
              </a:rPr>
              <a:t>|   </a:t>
            </a:r>
            <a:fld id="{DDCA33D1-252A-4658-B1F4-82058961A0C0}" type="slidenum">
              <a:rPr lang="en-US" sz="1100" kern="1200" smtClean="0">
                <a:solidFill>
                  <a:srgbClr val="000000"/>
                </a:solidFill>
                <a:latin typeface="+mn-lt"/>
                <a:ea typeface="+mn-ea"/>
                <a:cs typeface="Arial"/>
              </a:rPr>
              <a:pPr algn="r" eaLnBrk="0" hangingPunct="0"/>
              <a:t>‹#›</a:t>
            </a:fld>
            <a:endParaRPr lang="en-US" sz="1100">
              <a:solidFill>
                <a:srgbClr val="000000"/>
              </a:solidFill>
              <a:latin typeface="+mn-lt"/>
              <a:cs typeface="Arial"/>
            </a:endParaRPr>
          </a:p>
        </p:txBody>
      </p:sp>
      <p:grpSp>
        <p:nvGrpSpPr>
          <p:cNvPr id="19" name="Group 18"/>
          <p:cNvGrpSpPr>
            <a:grpSpLocks noChangeAspect="1"/>
          </p:cNvGrpSpPr>
          <p:nvPr/>
        </p:nvGrpSpPr>
        <p:grpSpPr bwMode="auto">
          <a:xfrm>
            <a:off x="698682" y="6316752"/>
            <a:ext cx="1196968" cy="312648"/>
            <a:chOff x="44" y="1156"/>
            <a:chExt cx="5628" cy="1470"/>
          </a:xfrm>
          <a:solidFill>
            <a:schemeClr val="tx2"/>
          </a:solidFill>
        </p:grpSpPr>
        <p:sp>
          <p:nvSpPr>
            <p:cNvPr id="20" name="Freeform 19"/>
            <p:cNvSpPr>
              <a:spLocks/>
            </p:cNvSpPr>
            <p:nvPr/>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1" name="Freeform 20"/>
            <p:cNvSpPr>
              <a:spLocks noEditPoints="1"/>
            </p:cNvSpPr>
            <p:nvPr/>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2" name="Freeform 21"/>
            <p:cNvSpPr>
              <a:spLocks/>
            </p:cNvSpPr>
            <p:nvPr/>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3" name="Freeform 22"/>
            <p:cNvSpPr>
              <a:spLocks/>
            </p:cNvSpPr>
            <p:nvPr/>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4" name="Freeform 23"/>
            <p:cNvSpPr>
              <a:spLocks/>
            </p:cNvSpPr>
            <p:nvPr/>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5" name="Freeform 24"/>
            <p:cNvSpPr>
              <a:spLocks/>
            </p:cNvSpPr>
            <p:nvPr/>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6" name="Rectangle 25"/>
            <p:cNvSpPr>
              <a:spLocks noChangeArrowheads="1"/>
            </p:cNvSpPr>
            <p:nvPr/>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7" name="Freeform 26"/>
            <p:cNvSpPr>
              <a:spLocks noEditPoints="1"/>
            </p:cNvSpPr>
            <p:nvPr/>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8" name="Freeform 27"/>
            <p:cNvSpPr>
              <a:spLocks/>
            </p:cNvSpPr>
            <p:nvPr/>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9" name="Freeform 28"/>
            <p:cNvSpPr>
              <a:spLocks/>
            </p:cNvSpPr>
            <p:nvPr/>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0" name="Freeform 29"/>
            <p:cNvSpPr>
              <a:spLocks/>
            </p:cNvSpPr>
            <p:nvPr/>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1" name="Freeform 30"/>
            <p:cNvSpPr>
              <a:spLocks/>
            </p:cNvSpPr>
            <p:nvPr/>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2" name="Freeform 31"/>
            <p:cNvSpPr>
              <a:spLocks/>
            </p:cNvSpPr>
            <p:nvPr/>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3" name="Freeform 32"/>
            <p:cNvSpPr>
              <a:spLocks noEditPoints="1"/>
            </p:cNvSpPr>
            <p:nvPr/>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grpSp>
      <p:sp>
        <p:nvSpPr>
          <p:cNvPr id="2" name="Title Placeholder 1"/>
          <p:cNvSpPr>
            <a:spLocks noGrp="1"/>
          </p:cNvSpPr>
          <p:nvPr>
            <p:ph type="title"/>
          </p:nvPr>
        </p:nvSpPr>
        <p:spPr>
          <a:xfrm>
            <a:off x="609760" y="274638"/>
            <a:ext cx="10061020" cy="114300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4185024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Lst>
  <p:hf hdr="0" ftr="0" dt="0"/>
  <p:txStyles>
    <p:titleStyle>
      <a:lvl1pPr algn="l" defTabSz="1218987" rtl="0" eaLnBrk="1" latinLnBrk="0" hangingPunct="1">
        <a:spcBef>
          <a:spcPct val="0"/>
        </a:spcBef>
        <a:buNone/>
        <a:defRPr sz="3200" b="1" kern="1200">
          <a:solidFill>
            <a:schemeClr val="tx1"/>
          </a:solidFill>
          <a:latin typeface="+mj-lt"/>
          <a:ea typeface="+mj-ea"/>
          <a:cs typeface="+mj-cs"/>
        </a:defRPr>
      </a:lvl1pPr>
    </p:titleStyle>
    <p:bodyStyle>
      <a:lvl1pPr marL="226444" indent="-226444"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1pPr>
      <a:lvl2pPr marL="531191" indent="-304747"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768216" indent="-237025" algn="l" defTabSz="1218987" rtl="0" eaLnBrk="1" latinLnBrk="0" hangingPunct="1">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3pPr>
      <a:lvl4pPr marL="1072963" indent="-30474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1297290" indent="-22432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B0C70DE3-25DE-EA43-801E-34299528AFA0}"/>
              </a:ext>
            </a:extLst>
          </p:cNvPr>
          <p:cNvSpPr>
            <a:spLocks noGrp="1"/>
          </p:cNvSpPr>
          <p:nvPr>
            <p:ph type="title"/>
          </p:nvPr>
        </p:nvSpPr>
        <p:spPr>
          <a:xfrm>
            <a:off x="838419" y="365126"/>
            <a:ext cx="10515163" cy="1325563"/>
          </a:xfrm>
          <a:prstGeom prst="rect">
            <a:avLst/>
          </a:prstGeom>
        </p:spPr>
        <p:txBody>
          <a:bodyPr vert="horz" lIns="91440" tIns="45720" rIns="91440" bIns="45720" rtlCol="0" anchor="ctr">
            <a:normAutofit/>
          </a:bodyPr>
          <a:lstStyle/>
          <a:p>
            <a:r>
              <a:rPr lang="en-US" dirty="0"/>
              <a:t>Click to edit Master title style</a:t>
            </a:r>
          </a:p>
        </p:txBody>
      </p:sp>
      <p:sp>
        <p:nvSpPr>
          <p:cNvPr id="8" name="Text Placeholder 2">
            <a:extLst>
              <a:ext uri="{FF2B5EF4-FFF2-40B4-BE49-F238E27FC236}">
                <a16:creationId xmlns:a16="http://schemas.microsoft.com/office/drawing/2014/main" id="{883604CA-FE59-8D48-A26E-63D536E46453}"/>
              </a:ext>
            </a:extLst>
          </p:cNvPr>
          <p:cNvSpPr>
            <a:spLocks noGrp="1"/>
          </p:cNvSpPr>
          <p:nvPr>
            <p:ph type="body" idx="1"/>
          </p:nvPr>
        </p:nvSpPr>
        <p:spPr>
          <a:xfrm>
            <a:off x="838419" y="1825625"/>
            <a:ext cx="10515163"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841407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Lst>
  <p:txStyles>
    <p:titleStyle>
      <a:lvl1pPr algn="l" defTabSz="91440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8"/>
            </p:custDataLst>
            <p:extLst>
              <p:ext uri="{D42A27DB-BD31-4B8C-83A1-F6EECF244321}">
                <p14:modId xmlns:p14="http://schemas.microsoft.com/office/powerpoint/2010/main" val="367212634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4" progId="TCLayout.ActiveDocument.1">
                  <p:embed/>
                </p:oleObj>
              </mc:Choice>
              <mc:Fallback>
                <p:oleObj name="think-cell Slide" r:id="rId29" imgW="395" imgH="394" progId="TCLayout.ActiveDocument.1">
                  <p:embed/>
                  <p:pic>
                    <p:nvPicPr>
                      <p:cNvPr id="5" name="Object 4" hidden="1"/>
                      <p:cNvPicPr/>
                      <p:nvPr/>
                    </p:nvPicPr>
                    <p:blipFill>
                      <a:blip r:embed="rId30"/>
                      <a:stretch>
                        <a:fillRect/>
                      </a:stretch>
                    </p:blipFill>
                    <p:spPr>
                      <a:xfrm>
                        <a:off x="1589"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09760" y="1601788"/>
            <a:ext cx="10972482" cy="4505325"/>
          </a:xfrm>
          <a:prstGeom prst="rect">
            <a:avLst/>
          </a:prstGeom>
        </p:spPr>
        <p:txBody>
          <a:bodyPr vert="horz" wrap="square"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a:grpSpLocks noChangeAspect="1"/>
          </p:cNvGrpSpPr>
          <p:nvPr/>
        </p:nvGrpSpPr>
        <p:grpSpPr>
          <a:xfrm>
            <a:off x="10957244" y="-223807"/>
            <a:ext cx="1467660" cy="1481376"/>
            <a:chOff x="0" y="-350837"/>
            <a:chExt cx="1358900" cy="1371600"/>
          </a:xfrm>
        </p:grpSpPr>
        <p:sp>
          <p:nvSpPr>
            <p:cNvPr id="13" name="Freeform 5"/>
            <p:cNvSpPr>
              <a:spLocks/>
            </p:cNvSpPr>
            <p:nvPr/>
          </p:nvSpPr>
          <p:spPr bwMode="auto">
            <a:xfrm>
              <a:off x="0" y="-350837"/>
              <a:ext cx="1358900" cy="1371600"/>
            </a:xfrm>
            <a:custGeom>
              <a:avLst/>
              <a:gdLst>
                <a:gd name="T0" fmla="*/ 148 w 300"/>
                <a:gd name="T1" fmla="*/ 0 h 303"/>
                <a:gd name="T2" fmla="*/ 148 w 300"/>
                <a:gd name="T3" fmla="*/ 0 h 303"/>
                <a:gd name="T4" fmla="*/ 17 w 300"/>
                <a:gd name="T5" fmla="*/ 75 h 303"/>
                <a:gd name="T6" fmla="*/ 14 w 300"/>
                <a:gd name="T7" fmla="*/ 122 h 303"/>
                <a:gd name="T8" fmla="*/ 53 w 300"/>
                <a:gd name="T9" fmla="*/ 140 h 303"/>
                <a:gd name="T10" fmla="*/ 72 w 300"/>
                <a:gd name="T11" fmla="*/ 140 h 303"/>
                <a:gd name="T12" fmla="*/ 65 w 300"/>
                <a:gd name="T13" fmla="*/ 161 h 303"/>
                <a:gd name="T14" fmla="*/ 69 w 300"/>
                <a:gd name="T15" fmla="*/ 199 h 303"/>
                <a:gd name="T16" fmla="*/ 100 w 300"/>
                <a:gd name="T17" fmla="*/ 213 h 303"/>
                <a:gd name="T18" fmla="*/ 127 w 300"/>
                <a:gd name="T19" fmla="*/ 207 h 303"/>
                <a:gd name="T20" fmla="*/ 121 w 300"/>
                <a:gd name="T21" fmla="*/ 197 h 303"/>
                <a:gd name="T22" fmla="*/ 118 w 300"/>
                <a:gd name="T23" fmla="*/ 186 h 303"/>
                <a:gd name="T24" fmla="*/ 101 w 300"/>
                <a:gd name="T25" fmla="*/ 189 h 303"/>
                <a:gd name="T26" fmla="*/ 90 w 300"/>
                <a:gd name="T27" fmla="*/ 184 h 303"/>
                <a:gd name="T28" fmla="*/ 88 w 300"/>
                <a:gd name="T29" fmla="*/ 169 h 303"/>
                <a:gd name="T30" fmla="*/ 98 w 300"/>
                <a:gd name="T31" fmla="*/ 140 h 303"/>
                <a:gd name="T32" fmla="*/ 128 w 300"/>
                <a:gd name="T33" fmla="*/ 140 h 303"/>
                <a:gd name="T34" fmla="*/ 135 w 300"/>
                <a:gd name="T35" fmla="*/ 115 h 303"/>
                <a:gd name="T36" fmla="*/ 106 w 300"/>
                <a:gd name="T37" fmla="*/ 115 h 303"/>
                <a:gd name="T38" fmla="*/ 119 w 300"/>
                <a:gd name="T39" fmla="*/ 75 h 303"/>
                <a:gd name="T40" fmla="*/ 93 w 300"/>
                <a:gd name="T41" fmla="*/ 75 h 303"/>
                <a:gd name="T42" fmla="*/ 80 w 300"/>
                <a:gd name="T43" fmla="*/ 115 h 303"/>
                <a:gd name="T44" fmla="*/ 53 w 300"/>
                <a:gd name="T45" fmla="*/ 115 h 303"/>
                <a:gd name="T46" fmla="*/ 36 w 300"/>
                <a:gd name="T47" fmla="*/ 108 h 303"/>
                <a:gd name="T48" fmla="*/ 43 w 300"/>
                <a:gd name="T49" fmla="*/ 80 h 303"/>
                <a:gd name="T50" fmla="*/ 43 w 300"/>
                <a:gd name="T51" fmla="*/ 80 h 303"/>
                <a:gd name="T52" fmla="*/ 148 w 300"/>
                <a:gd name="T53" fmla="*/ 24 h 303"/>
                <a:gd name="T54" fmla="*/ 275 w 300"/>
                <a:gd name="T55" fmla="*/ 151 h 303"/>
                <a:gd name="T56" fmla="*/ 148 w 300"/>
                <a:gd name="T57" fmla="*/ 278 h 303"/>
                <a:gd name="T58" fmla="*/ 24 w 300"/>
                <a:gd name="T59" fmla="*/ 175 h 303"/>
                <a:gd name="T60" fmla="*/ 0 w 300"/>
                <a:gd name="T61" fmla="*/ 180 h 303"/>
                <a:gd name="T62" fmla="*/ 148 w 300"/>
                <a:gd name="T63" fmla="*/ 303 h 303"/>
                <a:gd name="T64" fmla="*/ 300 w 300"/>
                <a:gd name="T65" fmla="*/ 151 h 303"/>
                <a:gd name="T66" fmla="*/ 148 w 300"/>
                <a:gd name="T6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03">
                  <a:moveTo>
                    <a:pt x="148" y="0"/>
                  </a:moveTo>
                  <a:lnTo>
                    <a:pt x="148" y="0"/>
                  </a:lnTo>
                  <a:cubicBezTo>
                    <a:pt x="92" y="0"/>
                    <a:pt x="43" y="30"/>
                    <a:pt x="17" y="75"/>
                  </a:cubicBezTo>
                  <a:cubicBezTo>
                    <a:pt x="7" y="93"/>
                    <a:pt x="6" y="109"/>
                    <a:pt x="14" y="122"/>
                  </a:cubicBezTo>
                  <a:cubicBezTo>
                    <a:pt x="22" y="137"/>
                    <a:pt x="42" y="140"/>
                    <a:pt x="53" y="140"/>
                  </a:cubicBezTo>
                  <a:lnTo>
                    <a:pt x="72" y="140"/>
                  </a:lnTo>
                  <a:lnTo>
                    <a:pt x="65" y="161"/>
                  </a:lnTo>
                  <a:cubicBezTo>
                    <a:pt x="60" y="175"/>
                    <a:pt x="62" y="189"/>
                    <a:pt x="69" y="199"/>
                  </a:cubicBezTo>
                  <a:cubicBezTo>
                    <a:pt x="76" y="208"/>
                    <a:pt x="87" y="213"/>
                    <a:pt x="100" y="213"/>
                  </a:cubicBezTo>
                  <a:cubicBezTo>
                    <a:pt x="109" y="213"/>
                    <a:pt x="118" y="211"/>
                    <a:pt x="127" y="207"/>
                  </a:cubicBezTo>
                  <a:cubicBezTo>
                    <a:pt x="124" y="204"/>
                    <a:pt x="122" y="201"/>
                    <a:pt x="121" y="197"/>
                  </a:cubicBezTo>
                  <a:cubicBezTo>
                    <a:pt x="120" y="193"/>
                    <a:pt x="119" y="189"/>
                    <a:pt x="118" y="186"/>
                  </a:cubicBezTo>
                  <a:cubicBezTo>
                    <a:pt x="113" y="188"/>
                    <a:pt x="107" y="189"/>
                    <a:pt x="101" y="189"/>
                  </a:cubicBezTo>
                  <a:cubicBezTo>
                    <a:pt x="97" y="189"/>
                    <a:pt x="92" y="187"/>
                    <a:pt x="90" y="184"/>
                  </a:cubicBezTo>
                  <a:cubicBezTo>
                    <a:pt x="87" y="180"/>
                    <a:pt x="87" y="175"/>
                    <a:pt x="88" y="169"/>
                  </a:cubicBezTo>
                  <a:lnTo>
                    <a:pt x="98" y="140"/>
                  </a:lnTo>
                  <a:lnTo>
                    <a:pt x="128" y="140"/>
                  </a:lnTo>
                  <a:lnTo>
                    <a:pt x="135" y="115"/>
                  </a:lnTo>
                  <a:lnTo>
                    <a:pt x="106" y="115"/>
                  </a:lnTo>
                  <a:lnTo>
                    <a:pt x="119" y="75"/>
                  </a:lnTo>
                  <a:lnTo>
                    <a:pt x="93" y="75"/>
                  </a:lnTo>
                  <a:lnTo>
                    <a:pt x="80" y="115"/>
                  </a:lnTo>
                  <a:lnTo>
                    <a:pt x="53" y="115"/>
                  </a:lnTo>
                  <a:cubicBezTo>
                    <a:pt x="44" y="115"/>
                    <a:pt x="38" y="113"/>
                    <a:pt x="36" y="108"/>
                  </a:cubicBezTo>
                  <a:cubicBezTo>
                    <a:pt x="33" y="103"/>
                    <a:pt x="36" y="93"/>
                    <a:pt x="43" y="80"/>
                  </a:cubicBezTo>
                  <a:lnTo>
                    <a:pt x="43" y="80"/>
                  </a:lnTo>
                  <a:cubicBezTo>
                    <a:pt x="66" y="46"/>
                    <a:pt x="104" y="24"/>
                    <a:pt x="148" y="24"/>
                  </a:cubicBezTo>
                  <a:cubicBezTo>
                    <a:pt x="218" y="24"/>
                    <a:pt x="275" y="81"/>
                    <a:pt x="275" y="151"/>
                  </a:cubicBezTo>
                  <a:cubicBezTo>
                    <a:pt x="275" y="221"/>
                    <a:pt x="218" y="278"/>
                    <a:pt x="148" y="278"/>
                  </a:cubicBezTo>
                  <a:cubicBezTo>
                    <a:pt x="86" y="278"/>
                    <a:pt x="35" y="233"/>
                    <a:pt x="24" y="175"/>
                  </a:cubicBezTo>
                  <a:lnTo>
                    <a:pt x="0" y="180"/>
                  </a:lnTo>
                  <a:cubicBezTo>
                    <a:pt x="13" y="250"/>
                    <a:pt x="74" y="303"/>
                    <a:pt x="148" y="303"/>
                  </a:cubicBezTo>
                  <a:cubicBezTo>
                    <a:pt x="232" y="303"/>
                    <a:pt x="300" y="235"/>
                    <a:pt x="300" y="151"/>
                  </a:cubicBezTo>
                  <a:cubicBezTo>
                    <a:pt x="300" y="67"/>
                    <a:pt x="232" y="0"/>
                    <a:pt x="148" y="0"/>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 name="Freeform 6"/>
            <p:cNvSpPr>
              <a:spLocks/>
            </p:cNvSpPr>
            <p:nvPr/>
          </p:nvSpPr>
          <p:spPr bwMode="auto">
            <a:xfrm>
              <a:off x="588963" y="169863"/>
              <a:ext cx="561975" cy="444500"/>
            </a:xfrm>
            <a:custGeom>
              <a:avLst/>
              <a:gdLst>
                <a:gd name="T0" fmla="*/ 115 w 124"/>
                <a:gd name="T1" fmla="*/ 77 h 98"/>
                <a:gd name="T2" fmla="*/ 115 w 124"/>
                <a:gd name="T3" fmla="*/ 77 h 98"/>
                <a:gd name="T4" fmla="*/ 96 w 124"/>
                <a:gd name="T5" fmla="*/ 73 h 98"/>
                <a:gd name="T6" fmla="*/ 91 w 124"/>
                <a:gd name="T7" fmla="*/ 65 h 98"/>
                <a:gd name="T8" fmla="*/ 91 w 124"/>
                <a:gd name="T9" fmla="*/ 65 h 98"/>
                <a:gd name="T10" fmla="*/ 92 w 124"/>
                <a:gd name="T11" fmla="*/ 58 h 98"/>
                <a:gd name="T12" fmla="*/ 110 w 124"/>
                <a:gd name="T13" fmla="*/ 0 h 98"/>
                <a:gd name="T14" fmla="*/ 110 w 124"/>
                <a:gd name="T15" fmla="*/ 0 h 98"/>
                <a:gd name="T16" fmla="*/ 84 w 124"/>
                <a:gd name="T17" fmla="*/ 0 h 98"/>
                <a:gd name="T18" fmla="*/ 84 w 124"/>
                <a:gd name="T19" fmla="*/ 0 h 98"/>
                <a:gd name="T20" fmla="*/ 68 w 124"/>
                <a:gd name="T21" fmla="*/ 50 h 98"/>
                <a:gd name="T22" fmla="*/ 68 w 124"/>
                <a:gd name="T23" fmla="*/ 50 h 98"/>
                <a:gd name="T24" fmla="*/ 38 w 124"/>
                <a:gd name="T25" fmla="*/ 73 h 98"/>
                <a:gd name="T26" fmla="*/ 29 w 124"/>
                <a:gd name="T27" fmla="*/ 69 h 98"/>
                <a:gd name="T28" fmla="*/ 28 w 124"/>
                <a:gd name="T29" fmla="*/ 58 h 98"/>
                <a:gd name="T30" fmla="*/ 47 w 124"/>
                <a:gd name="T31" fmla="*/ 0 h 98"/>
                <a:gd name="T32" fmla="*/ 20 w 124"/>
                <a:gd name="T33" fmla="*/ 0 h 98"/>
                <a:gd name="T34" fmla="*/ 4 w 124"/>
                <a:gd name="T35" fmla="*/ 50 h 98"/>
                <a:gd name="T36" fmla="*/ 8 w 124"/>
                <a:gd name="T37" fmla="*/ 84 h 98"/>
                <a:gd name="T38" fmla="*/ 37 w 124"/>
                <a:gd name="T39" fmla="*/ 98 h 98"/>
                <a:gd name="T40" fmla="*/ 73 w 124"/>
                <a:gd name="T41" fmla="*/ 84 h 98"/>
                <a:gd name="T42" fmla="*/ 87 w 124"/>
                <a:gd name="T43" fmla="*/ 95 h 98"/>
                <a:gd name="T44" fmla="*/ 107 w 124"/>
                <a:gd name="T45" fmla="*/ 98 h 98"/>
                <a:gd name="T46" fmla="*/ 114 w 124"/>
                <a:gd name="T47" fmla="*/ 97 h 98"/>
                <a:gd name="T48" fmla="*/ 115 w 124"/>
                <a:gd name="T49" fmla="*/ 95 h 98"/>
                <a:gd name="T50" fmla="*/ 118 w 124"/>
                <a:gd name="T51" fmla="*/ 90 h 98"/>
                <a:gd name="T52" fmla="*/ 120 w 124"/>
                <a:gd name="T53" fmla="*/ 85 h 98"/>
                <a:gd name="T54" fmla="*/ 123 w 124"/>
                <a:gd name="T55" fmla="*/ 80 h 98"/>
                <a:gd name="T56" fmla="*/ 124 w 124"/>
                <a:gd name="T57" fmla="*/ 76 h 98"/>
                <a:gd name="T58" fmla="*/ 115 w 124"/>
                <a:gd name="T59"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4" h="98">
                  <a:moveTo>
                    <a:pt x="115" y="77"/>
                  </a:moveTo>
                  <a:lnTo>
                    <a:pt x="115" y="77"/>
                  </a:lnTo>
                  <a:cubicBezTo>
                    <a:pt x="109" y="77"/>
                    <a:pt x="101" y="76"/>
                    <a:pt x="96" y="73"/>
                  </a:cubicBezTo>
                  <a:cubicBezTo>
                    <a:pt x="94" y="71"/>
                    <a:pt x="92" y="69"/>
                    <a:pt x="91" y="65"/>
                  </a:cubicBezTo>
                  <a:cubicBezTo>
                    <a:pt x="91" y="65"/>
                    <a:pt x="91" y="65"/>
                    <a:pt x="91" y="65"/>
                  </a:cubicBezTo>
                  <a:cubicBezTo>
                    <a:pt x="91" y="63"/>
                    <a:pt x="91" y="60"/>
                    <a:pt x="92" y="58"/>
                  </a:cubicBezTo>
                  <a:lnTo>
                    <a:pt x="110" y="0"/>
                  </a:lnTo>
                  <a:lnTo>
                    <a:pt x="110" y="0"/>
                  </a:lnTo>
                  <a:lnTo>
                    <a:pt x="84" y="0"/>
                  </a:lnTo>
                  <a:lnTo>
                    <a:pt x="84" y="0"/>
                  </a:lnTo>
                  <a:lnTo>
                    <a:pt x="68" y="50"/>
                  </a:lnTo>
                  <a:cubicBezTo>
                    <a:pt x="68" y="50"/>
                    <a:pt x="68" y="50"/>
                    <a:pt x="68" y="50"/>
                  </a:cubicBezTo>
                  <a:cubicBezTo>
                    <a:pt x="64" y="63"/>
                    <a:pt x="50" y="73"/>
                    <a:pt x="38" y="73"/>
                  </a:cubicBezTo>
                  <a:cubicBezTo>
                    <a:pt x="35" y="73"/>
                    <a:pt x="31" y="72"/>
                    <a:pt x="29" y="69"/>
                  </a:cubicBezTo>
                  <a:cubicBezTo>
                    <a:pt x="27" y="67"/>
                    <a:pt x="26" y="63"/>
                    <a:pt x="28" y="58"/>
                  </a:cubicBezTo>
                  <a:lnTo>
                    <a:pt x="47" y="0"/>
                  </a:lnTo>
                  <a:lnTo>
                    <a:pt x="20" y="0"/>
                  </a:lnTo>
                  <a:lnTo>
                    <a:pt x="4" y="50"/>
                  </a:lnTo>
                  <a:cubicBezTo>
                    <a:pt x="0" y="62"/>
                    <a:pt x="2" y="75"/>
                    <a:pt x="8" y="84"/>
                  </a:cubicBezTo>
                  <a:cubicBezTo>
                    <a:pt x="15" y="93"/>
                    <a:pt x="25" y="98"/>
                    <a:pt x="37" y="98"/>
                  </a:cubicBezTo>
                  <a:cubicBezTo>
                    <a:pt x="49" y="98"/>
                    <a:pt x="62" y="93"/>
                    <a:pt x="73" y="84"/>
                  </a:cubicBezTo>
                  <a:cubicBezTo>
                    <a:pt x="76" y="90"/>
                    <a:pt x="81" y="93"/>
                    <a:pt x="87" y="95"/>
                  </a:cubicBezTo>
                  <a:cubicBezTo>
                    <a:pt x="95" y="98"/>
                    <a:pt x="101" y="98"/>
                    <a:pt x="107" y="98"/>
                  </a:cubicBezTo>
                  <a:cubicBezTo>
                    <a:pt x="109" y="98"/>
                    <a:pt x="112" y="97"/>
                    <a:pt x="114" y="97"/>
                  </a:cubicBezTo>
                  <a:cubicBezTo>
                    <a:pt x="114" y="96"/>
                    <a:pt x="115" y="95"/>
                    <a:pt x="115" y="95"/>
                  </a:cubicBezTo>
                  <a:cubicBezTo>
                    <a:pt x="116" y="93"/>
                    <a:pt x="117" y="91"/>
                    <a:pt x="118" y="90"/>
                  </a:cubicBezTo>
                  <a:cubicBezTo>
                    <a:pt x="119" y="88"/>
                    <a:pt x="120" y="87"/>
                    <a:pt x="120" y="85"/>
                  </a:cubicBezTo>
                  <a:cubicBezTo>
                    <a:pt x="121" y="83"/>
                    <a:pt x="122" y="82"/>
                    <a:pt x="123" y="80"/>
                  </a:cubicBezTo>
                  <a:cubicBezTo>
                    <a:pt x="123" y="79"/>
                    <a:pt x="124" y="78"/>
                    <a:pt x="124" y="76"/>
                  </a:cubicBezTo>
                  <a:cubicBezTo>
                    <a:pt x="122" y="77"/>
                    <a:pt x="119" y="77"/>
                    <a:pt x="115" y="77"/>
                  </a:cubicBezTo>
                  <a:close/>
                </a:path>
              </a:pathLst>
            </a:custGeom>
            <a:solidFill>
              <a:srgbClr val="00A6C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16" name="Rectangle 38"/>
          <p:cNvSpPr>
            <a:spLocks noChangeArrowheads="1"/>
          </p:cNvSpPr>
          <p:nvPr/>
        </p:nvSpPr>
        <p:spPr bwMode="auto">
          <a:xfrm>
            <a:off x="4949827" y="6536073"/>
            <a:ext cx="6632574" cy="117560"/>
          </a:xfrm>
          <a:prstGeom prst="rect">
            <a:avLst/>
          </a:prstGeom>
          <a:noFill/>
          <a:ln w="9525">
            <a:noFill/>
            <a:miter lim="800000"/>
            <a:headEnd/>
            <a:tailEnd/>
          </a:ln>
        </p:spPr>
        <p:txBody>
          <a:bodyPr lIns="0" tIns="0" rIns="0" bIns="0" anchor="b"/>
          <a:lstStyle/>
          <a:p>
            <a:pPr algn="r" eaLnBrk="0" hangingPunct="0"/>
            <a:r>
              <a:rPr lang="en-US" sz="1100" dirty="0">
                <a:solidFill>
                  <a:srgbClr val="000000"/>
                </a:solidFill>
                <a:latin typeface="+mn-lt"/>
                <a:cs typeface="Arial"/>
              </a:rPr>
              <a:t>© 2022 TransUnion LLC. All Rights</a:t>
            </a:r>
            <a:r>
              <a:rPr lang="en-US" sz="1100" baseline="0" dirty="0">
                <a:solidFill>
                  <a:srgbClr val="000000"/>
                </a:solidFill>
                <a:latin typeface="+mn-lt"/>
                <a:cs typeface="Arial"/>
              </a:rPr>
              <a:t> Reserved</a:t>
            </a:r>
            <a:r>
              <a:rPr lang="en-US" sz="1100" dirty="0">
                <a:solidFill>
                  <a:srgbClr val="000000"/>
                </a:solidFill>
                <a:latin typeface="+mn-lt"/>
              </a:rPr>
              <a:t>   </a:t>
            </a:r>
            <a:r>
              <a:rPr lang="en-US" sz="1100" dirty="0">
                <a:solidFill>
                  <a:srgbClr val="000000"/>
                </a:solidFill>
                <a:latin typeface="+mn-lt"/>
                <a:cs typeface="Arial"/>
              </a:rPr>
              <a:t>|   </a:t>
            </a:r>
            <a:fld id="{DDCA33D1-252A-4658-B1F4-82058961A0C0}" type="slidenum">
              <a:rPr lang="en-US" sz="1100" kern="1200" smtClean="0">
                <a:solidFill>
                  <a:srgbClr val="000000"/>
                </a:solidFill>
                <a:latin typeface="+mn-lt"/>
                <a:ea typeface="+mn-ea"/>
                <a:cs typeface="Arial"/>
              </a:rPr>
              <a:pPr algn="r" eaLnBrk="0" hangingPunct="0"/>
              <a:t>‹#›</a:t>
            </a:fld>
            <a:endParaRPr lang="en-US" sz="1100" dirty="0">
              <a:solidFill>
                <a:srgbClr val="000000"/>
              </a:solidFill>
              <a:latin typeface="+mn-lt"/>
              <a:cs typeface="Arial"/>
            </a:endParaRPr>
          </a:p>
        </p:txBody>
      </p:sp>
      <p:grpSp>
        <p:nvGrpSpPr>
          <p:cNvPr id="19" name="Group 18"/>
          <p:cNvGrpSpPr>
            <a:grpSpLocks noChangeAspect="1"/>
          </p:cNvGrpSpPr>
          <p:nvPr/>
        </p:nvGrpSpPr>
        <p:grpSpPr bwMode="auto">
          <a:xfrm>
            <a:off x="698682" y="6316752"/>
            <a:ext cx="1196968" cy="312648"/>
            <a:chOff x="44" y="1156"/>
            <a:chExt cx="5628" cy="1470"/>
          </a:xfrm>
          <a:solidFill>
            <a:schemeClr val="tx2"/>
          </a:solidFill>
        </p:grpSpPr>
        <p:sp>
          <p:nvSpPr>
            <p:cNvPr id="20" name="Freeform 19"/>
            <p:cNvSpPr>
              <a:spLocks/>
            </p:cNvSpPr>
            <p:nvPr/>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1" name="Freeform 20"/>
            <p:cNvSpPr>
              <a:spLocks noEditPoints="1"/>
            </p:cNvSpPr>
            <p:nvPr/>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2" name="Freeform 21"/>
            <p:cNvSpPr>
              <a:spLocks/>
            </p:cNvSpPr>
            <p:nvPr/>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3" name="Freeform 22"/>
            <p:cNvSpPr>
              <a:spLocks/>
            </p:cNvSpPr>
            <p:nvPr/>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4" name="Freeform 23"/>
            <p:cNvSpPr>
              <a:spLocks/>
            </p:cNvSpPr>
            <p:nvPr/>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5" name="Freeform 24"/>
            <p:cNvSpPr>
              <a:spLocks/>
            </p:cNvSpPr>
            <p:nvPr/>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6" name="Rectangle 25"/>
            <p:cNvSpPr>
              <a:spLocks noChangeArrowheads="1"/>
            </p:cNvSpPr>
            <p:nvPr/>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7" name="Freeform 26"/>
            <p:cNvSpPr>
              <a:spLocks noEditPoints="1"/>
            </p:cNvSpPr>
            <p:nvPr/>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8" name="Freeform 27"/>
            <p:cNvSpPr>
              <a:spLocks/>
            </p:cNvSpPr>
            <p:nvPr/>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9" name="Freeform 28"/>
            <p:cNvSpPr>
              <a:spLocks/>
            </p:cNvSpPr>
            <p:nvPr/>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0" name="Freeform 29"/>
            <p:cNvSpPr>
              <a:spLocks/>
            </p:cNvSpPr>
            <p:nvPr/>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1" name="Freeform 30"/>
            <p:cNvSpPr>
              <a:spLocks/>
            </p:cNvSpPr>
            <p:nvPr/>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2" name="Freeform 31"/>
            <p:cNvSpPr>
              <a:spLocks/>
            </p:cNvSpPr>
            <p:nvPr/>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3" name="Freeform 32"/>
            <p:cNvSpPr>
              <a:spLocks noEditPoints="1"/>
            </p:cNvSpPr>
            <p:nvPr/>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grpSp>
      <p:sp>
        <p:nvSpPr>
          <p:cNvPr id="2" name="Title Placeholder 1"/>
          <p:cNvSpPr>
            <a:spLocks noGrp="1"/>
          </p:cNvSpPr>
          <p:nvPr>
            <p:ph type="title"/>
          </p:nvPr>
        </p:nvSpPr>
        <p:spPr>
          <a:xfrm>
            <a:off x="609760" y="274638"/>
            <a:ext cx="10061020" cy="114300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427132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Lst>
  <p:hf hdr="0" ftr="0" dt="0"/>
  <p:txStyles>
    <p:titleStyle>
      <a:lvl1pPr algn="l" defTabSz="1218987" rtl="0" eaLnBrk="1" latinLnBrk="0" hangingPunct="1">
        <a:spcBef>
          <a:spcPct val="0"/>
        </a:spcBef>
        <a:buNone/>
        <a:defRPr sz="3200" b="1" kern="1200">
          <a:solidFill>
            <a:schemeClr val="tx1"/>
          </a:solidFill>
          <a:latin typeface="+mj-lt"/>
          <a:ea typeface="+mj-ea"/>
          <a:cs typeface="+mj-cs"/>
        </a:defRPr>
      </a:lvl1pPr>
    </p:titleStyle>
    <p:bodyStyle>
      <a:lvl1pPr marL="226444" indent="-226444"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1pPr>
      <a:lvl2pPr marL="531191" indent="-304747"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768216" indent="-237025" algn="l" defTabSz="1218987" rtl="0" eaLnBrk="1" latinLnBrk="0" hangingPunct="1">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3pPr>
      <a:lvl4pPr marL="1072963" indent="-30474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1297290" indent="-22432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19.svg"/></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49.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45.xml"/><Relationship Id="rId5" Type="http://schemas.openxmlformats.org/officeDocument/2006/relationships/chart" Target="../charts/char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5.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220" y="548953"/>
            <a:ext cx="6740039" cy="661988"/>
          </a:xfrm>
        </p:spPr>
        <p:txBody>
          <a:bodyPr/>
          <a:lstStyle/>
          <a:p>
            <a:r>
              <a:rPr lang="es-ES" sz="4400" i="1" dirty="0">
                <a:latin typeface="Arial"/>
                <a:cs typeface="+mj-cs"/>
              </a:rPr>
              <a:t>Riesgos cibernéticos y su impacto </a:t>
            </a:r>
            <a:endParaRPr lang="en-US" dirty="0"/>
          </a:p>
        </p:txBody>
      </p:sp>
      <p:sp>
        <p:nvSpPr>
          <p:cNvPr id="3" name="Text Placeholder 2"/>
          <p:cNvSpPr>
            <a:spLocks noGrp="1"/>
          </p:cNvSpPr>
          <p:nvPr>
            <p:ph type="body" idx="1"/>
          </p:nvPr>
        </p:nvSpPr>
        <p:spPr>
          <a:xfrm>
            <a:off x="484220" y="2776568"/>
            <a:ext cx="7730223" cy="1500187"/>
          </a:xfrm>
        </p:spPr>
        <p:txBody>
          <a:bodyPr/>
          <a:lstStyle/>
          <a:p>
            <a:pPr lvl="0">
              <a:lnSpc>
                <a:spcPct val="120000"/>
              </a:lnSpc>
              <a:spcBef>
                <a:spcPts val="0"/>
              </a:spcBef>
            </a:pPr>
            <a:r>
              <a:rPr lang="en-US" sz="2200" b="1" dirty="0">
                <a:latin typeface="Arial"/>
                <a:cs typeface="+mn-cs"/>
              </a:rPr>
              <a:t>Presentado </a:t>
            </a:r>
            <a:r>
              <a:rPr lang="en-US" sz="2200" b="1" dirty="0" err="1">
                <a:latin typeface="Arial"/>
                <a:cs typeface="+mn-cs"/>
              </a:rPr>
              <a:t>por</a:t>
            </a:r>
            <a:r>
              <a:rPr lang="en-US" sz="2200" b="1" dirty="0">
                <a:latin typeface="Arial"/>
                <a:cs typeface="+mn-cs"/>
              </a:rPr>
              <a:t>:
</a:t>
            </a:r>
          </a:p>
          <a:p>
            <a:pPr lvl="0">
              <a:lnSpc>
                <a:spcPct val="120000"/>
              </a:lnSpc>
              <a:spcBef>
                <a:spcPts val="0"/>
              </a:spcBef>
            </a:pPr>
            <a:r>
              <a:rPr lang="en-US" sz="2200" b="1" dirty="0">
                <a:latin typeface="Arial"/>
                <a:cs typeface="+mn-cs"/>
              </a:rPr>
              <a:t>Javier Trujillo, Director Regional para América Latina CyberScout, </a:t>
            </a:r>
            <a:r>
              <a:rPr lang="en-US" sz="2200" b="1" dirty="0" err="1">
                <a:latin typeface="Arial"/>
                <a:cs typeface="+mn-cs"/>
              </a:rPr>
              <a:t>una</a:t>
            </a:r>
            <a:r>
              <a:rPr lang="en-US" sz="2200" b="1" dirty="0">
                <a:latin typeface="Arial"/>
                <a:cs typeface="+mn-cs"/>
              </a:rPr>
              <a:t> </a:t>
            </a:r>
            <a:r>
              <a:rPr lang="en-US" sz="2200" b="1" dirty="0" err="1">
                <a:latin typeface="Arial"/>
                <a:cs typeface="+mn-cs"/>
              </a:rPr>
              <a:t>marca</a:t>
            </a:r>
            <a:r>
              <a:rPr lang="en-US" sz="2200" b="1" dirty="0">
                <a:latin typeface="Arial"/>
                <a:cs typeface="+mn-cs"/>
              </a:rPr>
              <a:t> de Transunion </a:t>
            </a:r>
          </a:p>
          <a:p>
            <a:endParaRPr lang="en-US" b="1" dirty="0"/>
          </a:p>
        </p:txBody>
      </p:sp>
    </p:spTree>
    <p:extLst>
      <p:ext uri="{BB962C8B-B14F-4D97-AF65-F5344CB8AC3E}">
        <p14:creationId xmlns:p14="http://schemas.microsoft.com/office/powerpoint/2010/main" val="2235873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048BAD2-D978-D250-72A1-18A948F21778}"/>
              </a:ext>
              <a:ext uri="{147F2762-F138-4A5C-976F-8EAC2B608ADB}">
                <a16:predDERef xmlns:a16="http://schemas.microsoft.com/office/drawing/2014/main" pred="{00000000-0008-0000-0000-000006000000}"/>
              </a:ext>
            </a:extLst>
          </p:cNvPr>
          <p:cNvGraphicFramePr>
            <a:graphicFrameLocks/>
          </p:cNvGraphicFramePr>
          <p:nvPr>
            <p:extLst>
              <p:ext uri="{D42A27DB-BD31-4B8C-83A1-F6EECF244321}">
                <p14:modId xmlns:p14="http://schemas.microsoft.com/office/powerpoint/2010/main" val="1193837255"/>
              </p:ext>
            </p:extLst>
          </p:nvPr>
        </p:nvGraphicFramePr>
        <p:xfrm>
          <a:off x="402566" y="1698562"/>
          <a:ext cx="10983593" cy="492272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1CC05073-6292-04AC-DE6A-963D278B26C1}"/>
              </a:ext>
            </a:extLst>
          </p:cNvPr>
          <p:cNvSpPr txBox="1"/>
          <p:nvPr/>
        </p:nvSpPr>
        <p:spPr>
          <a:xfrm>
            <a:off x="402566" y="446276"/>
            <a:ext cx="1126655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n-US" sz="2800" dirty="0" err="1">
                <a:cs typeface="Calibri"/>
              </a:rPr>
              <a:t>Resultados</a:t>
            </a:r>
            <a:r>
              <a:rPr lang="en-US" sz="2800" dirty="0">
                <a:cs typeface="Calibri"/>
              </a:rPr>
              <a:t> de </a:t>
            </a:r>
            <a:r>
              <a:rPr lang="en-US" sz="2800" dirty="0" err="1">
                <a:cs typeface="Calibri"/>
              </a:rPr>
              <a:t>encuestas</a:t>
            </a:r>
            <a:r>
              <a:rPr lang="en-US" sz="2800" dirty="0">
                <a:cs typeface="Calibri"/>
              </a:rPr>
              <a:t>:
</a:t>
            </a:r>
          </a:p>
        </p:txBody>
      </p:sp>
      <p:sp>
        <p:nvSpPr>
          <p:cNvPr id="7" name="TextBox 6">
            <a:extLst>
              <a:ext uri="{FF2B5EF4-FFF2-40B4-BE49-F238E27FC236}">
                <a16:creationId xmlns:a16="http://schemas.microsoft.com/office/drawing/2014/main" id="{E0860522-A8BF-6807-1DB8-10AB186570DA}"/>
              </a:ext>
            </a:extLst>
          </p:cNvPr>
          <p:cNvSpPr txBox="1"/>
          <p:nvPr/>
        </p:nvSpPr>
        <p:spPr>
          <a:xfrm>
            <a:off x="299283" y="877162"/>
            <a:ext cx="5796718" cy="19697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s-ES" sz="2800" b="1" dirty="0">
                <a:cs typeface="Calibri"/>
              </a:rPr>
              <a:t>¿Qué tipo de evento cibernético le preocupa más para usted y su familia?
</a:t>
            </a:r>
            <a:endParaRPr lang="en-US" sz="2800" b="1" dirty="0">
              <a:cs typeface="Calibri"/>
            </a:endParaRPr>
          </a:p>
        </p:txBody>
      </p:sp>
    </p:spTree>
    <p:extLst>
      <p:ext uri="{BB962C8B-B14F-4D97-AF65-F5344CB8AC3E}">
        <p14:creationId xmlns:p14="http://schemas.microsoft.com/office/powerpoint/2010/main" val="28178651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CF123CA-1273-4344-AA8A-B22DED89E433}"/>
              </a:ext>
            </a:extLst>
          </p:cNvPr>
          <p:cNvSpPr txBox="1"/>
          <p:nvPr/>
        </p:nvSpPr>
        <p:spPr>
          <a:xfrm>
            <a:off x="402566" y="969496"/>
            <a:ext cx="10623397" cy="19697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s-ES" sz="2800" b="1" dirty="0">
                <a:cs typeface="Calibri"/>
              </a:rPr>
              <a:t>¿Dónde consideraría por primera vez comprar una solución cibernética para protegerlo a usted y a su familia de los riesgos cibernéticos?
</a:t>
            </a:r>
            <a:endParaRPr lang="en-US" sz="2800" b="1" dirty="0">
              <a:cs typeface="Calibri"/>
            </a:endParaRPr>
          </a:p>
        </p:txBody>
      </p:sp>
      <p:graphicFrame>
        <p:nvGraphicFramePr>
          <p:cNvPr id="9" name="Chart 8"/>
          <p:cNvGraphicFramePr>
            <a:graphicFrameLocks/>
          </p:cNvGraphicFramePr>
          <p:nvPr>
            <p:extLst>
              <p:ext uri="{D42A27DB-BD31-4B8C-83A1-F6EECF244321}">
                <p14:modId xmlns:p14="http://schemas.microsoft.com/office/powerpoint/2010/main" val="2370571116"/>
              </p:ext>
            </p:extLst>
          </p:nvPr>
        </p:nvGraphicFramePr>
        <p:xfrm>
          <a:off x="699836" y="2122526"/>
          <a:ext cx="10792327" cy="415327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CCF123CA-1273-4344-AA8A-B22DED89E433}"/>
              </a:ext>
            </a:extLst>
          </p:cNvPr>
          <p:cNvSpPr txBox="1"/>
          <p:nvPr/>
        </p:nvSpPr>
        <p:spPr>
          <a:xfrm>
            <a:off x="501750" y="434445"/>
            <a:ext cx="1126655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n-US" sz="2800" dirty="0" err="1">
                <a:cs typeface="Calibri"/>
              </a:rPr>
              <a:t>Resultados</a:t>
            </a:r>
            <a:r>
              <a:rPr lang="en-US" sz="2800" dirty="0">
                <a:cs typeface="Calibri"/>
              </a:rPr>
              <a:t> de la </a:t>
            </a:r>
            <a:r>
              <a:rPr lang="en-US" sz="2800" dirty="0" err="1">
                <a:cs typeface="Calibri"/>
              </a:rPr>
              <a:t>encuesta</a:t>
            </a:r>
            <a:r>
              <a:rPr lang="en-US" sz="2800" dirty="0">
                <a:cs typeface="Calibri"/>
              </a:rPr>
              <a:t>:
</a:t>
            </a:r>
          </a:p>
        </p:txBody>
      </p:sp>
      <p:sp>
        <p:nvSpPr>
          <p:cNvPr id="8" name="TextBox 7"/>
          <p:cNvSpPr txBox="1"/>
          <p:nvPr/>
        </p:nvSpPr>
        <p:spPr>
          <a:xfrm>
            <a:off x="6545180" y="5790542"/>
            <a:ext cx="3898231" cy="1077218"/>
          </a:xfrm>
          <a:prstGeom prst="rect">
            <a:avLst/>
          </a:prstGeom>
          <a:noFill/>
        </p:spPr>
        <p:txBody>
          <a:bodyPr wrap="square" rtlCol="0">
            <a:spAutoFit/>
          </a:bodyPr>
          <a:lstStyle/>
          <a:p>
            <a:r>
              <a:rPr lang="es-ES" sz="1600" dirty="0"/>
              <a:t>Los consumidores buscan en la industria de seguros soluciones de riesgo cibernético
</a:t>
            </a:r>
            <a:endParaRPr lang="en-US" sz="1600" dirty="0"/>
          </a:p>
        </p:txBody>
      </p:sp>
      <p:sp>
        <p:nvSpPr>
          <p:cNvPr id="13" name="TextBox 12"/>
          <p:cNvSpPr txBox="1"/>
          <p:nvPr/>
        </p:nvSpPr>
        <p:spPr>
          <a:xfrm>
            <a:off x="402566" y="5942359"/>
            <a:ext cx="2185737" cy="646331"/>
          </a:xfrm>
          <a:prstGeom prst="rect">
            <a:avLst/>
          </a:prstGeom>
          <a:noFill/>
        </p:spPr>
        <p:txBody>
          <a:bodyPr wrap="square" rtlCol="0">
            <a:spAutoFit/>
          </a:bodyPr>
          <a:lstStyle/>
          <a:p>
            <a:r>
              <a:rPr lang="en-US" sz="1200" dirty="0"/>
              <a:t>Source: TransUnion commissioned survey of 3,000 consumers, Feb. 2022</a:t>
            </a:r>
          </a:p>
        </p:txBody>
      </p:sp>
      <p:sp>
        <p:nvSpPr>
          <p:cNvPr id="15" name="Rectangle 14"/>
          <p:cNvSpPr/>
          <p:nvPr/>
        </p:nvSpPr>
        <p:spPr>
          <a:xfrm>
            <a:off x="5937178" y="5790543"/>
            <a:ext cx="608002" cy="584775"/>
          </a:xfrm>
          <a:prstGeom prst="rect">
            <a:avLst/>
          </a:prstGeom>
          <a:solidFill>
            <a:srgbClr val="006B8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hape 2605">
            <a:extLst>
              <a:ext uri="{FF2B5EF4-FFF2-40B4-BE49-F238E27FC236}">
                <a16:creationId xmlns:a16="http://schemas.microsoft.com/office/drawing/2014/main" id="{77DDDBBE-846C-284E-B47F-4A88D0A93CA3}"/>
              </a:ext>
            </a:extLst>
          </p:cNvPr>
          <p:cNvSpPr>
            <a:spLocks noChangeAspect="1"/>
          </p:cNvSpPr>
          <p:nvPr/>
        </p:nvSpPr>
        <p:spPr>
          <a:xfrm>
            <a:off x="6056541" y="5890057"/>
            <a:ext cx="385755" cy="385745"/>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1"/>
          </a:solidFill>
          <a:ln w="12700">
            <a:miter lim="400000"/>
          </a:ln>
        </p:spPr>
        <p:txBody>
          <a:bodyPr lIns="38090" tIns="38090" rIns="38090" bIns="38090" anchor="ctr"/>
          <a:lstStyle/>
          <a:p>
            <a:pPr marL="0" marR="0" lvl="0" indent="0" defTabSz="457063"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999" b="1"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Open Sans Semibold" charset="0"/>
              <a:ea typeface="Open Sans Semibold" charset="0"/>
              <a:cs typeface="Open Sans Semibold" charset="0"/>
              <a:sym typeface="Gill Sans"/>
            </a:endParaRPr>
          </a:p>
        </p:txBody>
      </p:sp>
    </p:spTree>
    <p:extLst>
      <p:ext uri="{BB962C8B-B14F-4D97-AF65-F5344CB8AC3E}">
        <p14:creationId xmlns:p14="http://schemas.microsoft.com/office/powerpoint/2010/main" val="1608915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 name="Trapezoid 415"/>
          <p:cNvSpPr/>
          <p:nvPr/>
        </p:nvSpPr>
        <p:spPr>
          <a:xfrm rot="16200000">
            <a:off x="6048878" y="1954149"/>
            <a:ext cx="2929291" cy="3139846"/>
          </a:xfrm>
          <a:prstGeom prst="trapezoid">
            <a:avLst>
              <a:gd name="adj" fmla="val 34091"/>
            </a:avLst>
          </a:prstGeom>
          <a:solidFill>
            <a:srgbClr val="000000">
              <a:alpha val="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417" name="Trapezoid 416"/>
          <p:cNvSpPr/>
          <p:nvPr/>
        </p:nvSpPr>
        <p:spPr>
          <a:xfrm rot="5400000">
            <a:off x="2992493" y="1953389"/>
            <a:ext cx="2929287" cy="3141367"/>
          </a:xfrm>
          <a:prstGeom prst="trapezoid">
            <a:avLst>
              <a:gd name="adj" fmla="val 34091"/>
            </a:avLst>
          </a:prstGeom>
          <a:solidFill>
            <a:srgbClr val="000000">
              <a:alpha val="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grpSp>
        <p:nvGrpSpPr>
          <p:cNvPr id="418" name="Group 417"/>
          <p:cNvGrpSpPr>
            <a:grpSpLocks noChangeAspect="1"/>
          </p:cNvGrpSpPr>
          <p:nvPr/>
        </p:nvGrpSpPr>
        <p:grpSpPr>
          <a:xfrm>
            <a:off x="7961093" y="1830559"/>
            <a:ext cx="3391995" cy="3391995"/>
            <a:chOff x="5786977" y="3586038"/>
            <a:chExt cx="3931920" cy="3931920"/>
          </a:xfrm>
        </p:grpSpPr>
        <p:sp>
          <p:nvSpPr>
            <p:cNvPr id="430" name="Freeform 86">
              <a:extLst>
                <a:ext uri="{FF2B5EF4-FFF2-40B4-BE49-F238E27FC236}">
                  <a16:creationId xmlns:a16="http://schemas.microsoft.com/office/drawing/2014/main" id="{6708B2A2-5E83-E64E-8E35-0229BCDFE92C}"/>
                </a:ext>
              </a:extLst>
            </p:cNvPr>
            <p:cNvSpPr>
              <a:spLocks noChangeArrowheads="1"/>
            </p:cNvSpPr>
            <p:nvPr/>
          </p:nvSpPr>
          <p:spPr bwMode="auto">
            <a:xfrm>
              <a:off x="5786977" y="3586038"/>
              <a:ext cx="3931920" cy="3931920"/>
            </a:xfrm>
            <a:prstGeom prst="ellipse">
              <a:avLst/>
            </a:prstGeom>
            <a:solidFill>
              <a:srgbClr val="FFFFFF"/>
            </a:solidFill>
            <a:ln w="38100">
              <a:solidFill>
                <a:srgbClr val="00A6CA">
                  <a:lumMod val="75000"/>
                </a:srgbClr>
              </a:solidFill>
            </a:ln>
            <a:effectLst>
              <a:outerShdw blurRad="50800" dist="38100" dir="10800000" algn="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800" b="1" i="0" u="none" strike="noStrike" kern="0" cap="none" spc="0" normalizeH="0" baseline="0" noProof="0" dirty="0">
                <a:ln>
                  <a:noFill/>
                </a:ln>
                <a:solidFill>
                  <a:srgbClr val="000000"/>
                </a:solidFill>
                <a:effectLst/>
                <a:uLnTx/>
                <a:uFillTx/>
                <a:latin typeface="Roboto Bold" charset="0"/>
              </a:endParaRPr>
            </a:p>
          </p:txBody>
        </p:sp>
        <p:sp>
          <p:nvSpPr>
            <p:cNvPr id="431" name="Freeform 86">
              <a:extLst>
                <a:ext uri="{FF2B5EF4-FFF2-40B4-BE49-F238E27FC236}">
                  <a16:creationId xmlns:a16="http://schemas.microsoft.com/office/drawing/2014/main" id="{7A7AC434-D509-8E44-B5FA-889FED1FC8F0}"/>
                </a:ext>
              </a:extLst>
            </p:cNvPr>
            <p:cNvSpPr>
              <a:spLocks noChangeAspect="1" noChangeArrowheads="1"/>
            </p:cNvSpPr>
            <p:nvPr/>
          </p:nvSpPr>
          <p:spPr bwMode="auto">
            <a:xfrm>
              <a:off x="6052772" y="3851724"/>
              <a:ext cx="3400330" cy="3400550"/>
            </a:xfrm>
            <a:prstGeom prst="ellipse">
              <a:avLst/>
            </a:prstGeom>
            <a:solidFill>
              <a:srgbClr val="FFFFFF"/>
            </a:solidFill>
            <a:ln w="57150">
              <a:solidFill>
                <a:srgbClr val="00A6CA">
                  <a:lumMod val="75000"/>
                </a:srgbClr>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800" b="1" i="0" u="none" strike="noStrike" kern="0" cap="none" spc="0" normalizeH="0" baseline="0" noProof="0" dirty="0">
                <a:ln>
                  <a:noFill/>
                </a:ln>
                <a:solidFill>
                  <a:srgbClr val="000000"/>
                </a:solidFill>
                <a:effectLst/>
                <a:uLnTx/>
                <a:uFillTx/>
                <a:latin typeface="Roboto Bold" charset="0"/>
              </a:endParaRPr>
            </a:p>
          </p:txBody>
        </p:sp>
      </p:grpSp>
      <p:grpSp>
        <p:nvGrpSpPr>
          <p:cNvPr id="420" name="Group 419"/>
          <p:cNvGrpSpPr>
            <a:grpSpLocks noChangeAspect="1"/>
          </p:cNvGrpSpPr>
          <p:nvPr/>
        </p:nvGrpSpPr>
        <p:grpSpPr>
          <a:xfrm>
            <a:off x="683605" y="1830559"/>
            <a:ext cx="3387021" cy="3387021"/>
            <a:chOff x="5786977" y="3586038"/>
            <a:chExt cx="3931920" cy="3931920"/>
          </a:xfrm>
        </p:grpSpPr>
        <p:sp>
          <p:nvSpPr>
            <p:cNvPr id="428" name="Freeform 86">
              <a:extLst>
                <a:ext uri="{FF2B5EF4-FFF2-40B4-BE49-F238E27FC236}">
                  <a16:creationId xmlns:a16="http://schemas.microsoft.com/office/drawing/2014/main" id="{6708B2A2-5E83-E64E-8E35-0229BCDFE92C}"/>
                </a:ext>
              </a:extLst>
            </p:cNvPr>
            <p:cNvSpPr>
              <a:spLocks noChangeArrowheads="1"/>
            </p:cNvSpPr>
            <p:nvPr/>
          </p:nvSpPr>
          <p:spPr bwMode="auto">
            <a:xfrm>
              <a:off x="5786977" y="3586038"/>
              <a:ext cx="3931920" cy="3931920"/>
            </a:xfrm>
            <a:prstGeom prst="ellipse">
              <a:avLst/>
            </a:prstGeom>
            <a:solidFill>
              <a:srgbClr val="FFFFFF"/>
            </a:solidFill>
            <a:ln w="38100">
              <a:solidFill>
                <a:srgbClr val="FCD800"/>
              </a:solidFill>
            </a:ln>
            <a:effectLst>
              <a:outerShdw blurRad="50800" dist="38100" algn="l"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800" b="1" i="0" u="none" strike="noStrike" kern="0" cap="none" spc="0" normalizeH="0" baseline="0" noProof="0" dirty="0">
                <a:ln>
                  <a:noFill/>
                </a:ln>
                <a:solidFill>
                  <a:srgbClr val="000000"/>
                </a:solidFill>
                <a:effectLst/>
                <a:uLnTx/>
                <a:uFillTx/>
                <a:latin typeface="Roboto Bold" charset="0"/>
              </a:endParaRPr>
            </a:p>
          </p:txBody>
        </p:sp>
        <p:sp>
          <p:nvSpPr>
            <p:cNvPr id="429" name="Freeform 86">
              <a:extLst>
                <a:ext uri="{FF2B5EF4-FFF2-40B4-BE49-F238E27FC236}">
                  <a16:creationId xmlns:a16="http://schemas.microsoft.com/office/drawing/2014/main" id="{7A7AC434-D509-8E44-B5FA-889FED1FC8F0}"/>
                </a:ext>
              </a:extLst>
            </p:cNvPr>
            <p:cNvSpPr>
              <a:spLocks noChangeAspect="1" noChangeArrowheads="1"/>
            </p:cNvSpPr>
            <p:nvPr/>
          </p:nvSpPr>
          <p:spPr bwMode="auto">
            <a:xfrm>
              <a:off x="6052772" y="3851725"/>
              <a:ext cx="3400330" cy="3400550"/>
            </a:xfrm>
            <a:prstGeom prst="ellipse">
              <a:avLst/>
            </a:prstGeom>
            <a:solidFill>
              <a:srgbClr val="FFFFFF"/>
            </a:solidFill>
            <a:ln w="57150">
              <a:solidFill>
                <a:srgbClr val="FCD800"/>
              </a:solid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800" b="1" i="0" u="none" strike="noStrike" kern="0" cap="none" spc="0" normalizeH="0" baseline="0" noProof="0" dirty="0">
                <a:ln>
                  <a:noFill/>
                </a:ln>
                <a:solidFill>
                  <a:srgbClr val="000000"/>
                </a:solidFill>
                <a:effectLst/>
                <a:uLnTx/>
                <a:uFillTx/>
                <a:latin typeface="Roboto Bold" charset="0"/>
              </a:endParaRPr>
            </a:p>
          </p:txBody>
        </p:sp>
      </p:grpSp>
      <p:sp>
        <p:nvSpPr>
          <p:cNvPr id="238" name="Freeform 932">
            <a:extLst>
              <a:ext uri="{FF2B5EF4-FFF2-40B4-BE49-F238E27FC236}">
                <a16:creationId xmlns:a16="http://schemas.microsoft.com/office/drawing/2014/main" id="{CABC6DCA-67B0-F046-AAD8-3239825B4FAD}"/>
              </a:ext>
            </a:extLst>
          </p:cNvPr>
          <p:cNvSpPr>
            <a:spLocks noChangeAspect="1" noChangeArrowheads="1"/>
          </p:cNvSpPr>
          <p:nvPr/>
        </p:nvSpPr>
        <p:spPr bwMode="auto">
          <a:xfrm>
            <a:off x="2470083" y="3646030"/>
            <a:ext cx="636135" cy="638046"/>
          </a:xfrm>
          <a:custGeom>
            <a:avLst/>
            <a:gdLst>
              <a:gd name="T0" fmla="*/ 1815354 w 291035"/>
              <a:gd name="T1" fmla="*/ 2604568 h 291380"/>
              <a:gd name="T2" fmla="*/ 1713203 w 291035"/>
              <a:gd name="T3" fmla="*/ 2604568 h 291380"/>
              <a:gd name="T4" fmla="*/ 2265533 w 291035"/>
              <a:gd name="T5" fmla="*/ 2316933 h 291380"/>
              <a:gd name="T6" fmla="*/ 2559449 w 291035"/>
              <a:gd name="T7" fmla="*/ 2610120 h 291380"/>
              <a:gd name="T8" fmla="*/ 2265533 w 291035"/>
              <a:gd name="T9" fmla="*/ 2316933 h 291380"/>
              <a:gd name="T10" fmla="*/ 689932 w 291035"/>
              <a:gd name="T11" fmla="*/ 2610120 h 291380"/>
              <a:gd name="T12" fmla="*/ 979888 w 291035"/>
              <a:gd name="T13" fmla="*/ 2316933 h 291380"/>
              <a:gd name="T14" fmla="*/ 1412063 w 291035"/>
              <a:gd name="T15" fmla="*/ 2062633 h 291380"/>
              <a:gd name="T16" fmla="*/ 1837316 w 291035"/>
              <a:gd name="T17" fmla="*/ 3140014 h 291380"/>
              <a:gd name="T18" fmla="*/ 1412063 w 291035"/>
              <a:gd name="T19" fmla="*/ 2062633 h 291380"/>
              <a:gd name="T20" fmla="*/ 2265533 w 291035"/>
              <a:gd name="T21" fmla="*/ 2216540 h 291380"/>
              <a:gd name="T22" fmla="*/ 2559449 w 291035"/>
              <a:gd name="T23" fmla="*/ 2055886 h 291380"/>
              <a:gd name="T24" fmla="*/ 689932 w 291035"/>
              <a:gd name="T25" fmla="*/ 2055886 h 291380"/>
              <a:gd name="T26" fmla="*/ 979888 w 291035"/>
              <a:gd name="T27" fmla="*/ 2216540 h 291380"/>
              <a:gd name="T28" fmla="*/ 689932 w 291035"/>
              <a:gd name="T29" fmla="*/ 2055886 h 291380"/>
              <a:gd name="T30" fmla="*/ 2607120 w 291035"/>
              <a:gd name="T31" fmla="*/ 1955485 h 291380"/>
              <a:gd name="T32" fmla="*/ 2654775 w 291035"/>
              <a:gd name="T33" fmla="*/ 2610120 h 291380"/>
              <a:gd name="T34" fmla="*/ 2718324 w 291035"/>
              <a:gd name="T35" fmla="*/ 2662353 h 291380"/>
              <a:gd name="T36" fmla="*/ 2154329 w 291035"/>
              <a:gd name="T37" fmla="*/ 2710538 h 291380"/>
              <a:gd name="T38" fmla="*/ 2154329 w 291035"/>
              <a:gd name="T39" fmla="*/ 2610120 h 291380"/>
              <a:gd name="T40" fmla="*/ 2170208 w 291035"/>
              <a:gd name="T41" fmla="*/ 2003669 h 291380"/>
              <a:gd name="T42" fmla="*/ 642282 w 291035"/>
              <a:gd name="T43" fmla="*/ 1955485 h 291380"/>
              <a:gd name="T44" fmla="*/ 1079182 w 291035"/>
              <a:gd name="T45" fmla="*/ 2003669 h 291380"/>
              <a:gd name="T46" fmla="*/ 1095077 w 291035"/>
              <a:gd name="T47" fmla="*/ 2610120 h 291380"/>
              <a:gd name="T48" fmla="*/ 1095077 w 291035"/>
              <a:gd name="T49" fmla="*/ 2710538 h 291380"/>
              <a:gd name="T50" fmla="*/ 527093 w 291035"/>
              <a:gd name="T51" fmla="*/ 2662353 h 291380"/>
              <a:gd name="T52" fmla="*/ 590642 w 291035"/>
              <a:gd name="T53" fmla="*/ 2610120 h 291380"/>
              <a:gd name="T54" fmla="*/ 642282 w 291035"/>
              <a:gd name="T55" fmla="*/ 1955485 h 291380"/>
              <a:gd name="T56" fmla="*/ 361032 w 291035"/>
              <a:gd name="T57" fmla="*/ 3140014 h 291380"/>
              <a:gd name="T58" fmla="*/ 1311781 w 291035"/>
              <a:gd name="T59" fmla="*/ 2062633 h 291380"/>
              <a:gd name="T60" fmla="*/ 1247589 w 291035"/>
              <a:gd name="T61" fmla="*/ 2010566 h 291380"/>
              <a:gd name="T62" fmla="*/ 1953651 w 291035"/>
              <a:gd name="T63" fmla="*/ 1962499 h 291380"/>
              <a:gd name="T64" fmla="*/ 1953651 w 291035"/>
              <a:gd name="T65" fmla="*/ 2062633 h 291380"/>
              <a:gd name="T66" fmla="*/ 1937599 w 291035"/>
              <a:gd name="T67" fmla="*/ 3140014 h 291380"/>
              <a:gd name="T68" fmla="*/ 2884323 w 291035"/>
              <a:gd name="T69" fmla="*/ 1602055 h 291380"/>
              <a:gd name="T70" fmla="*/ 1633550 w 291035"/>
              <a:gd name="T71" fmla="*/ 695694 h 291380"/>
              <a:gd name="T72" fmla="*/ 1418940 w 291035"/>
              <a:gd name="T73" fmla="*/ 1181184 h 291380"/>
              <a:gd name="T74" fmla="*/ 1848151 w 291035"/>
              <a:gd name="T75" fmla="*/ 906589 h 291380"/>
              <a:gd name="T76" fmla="*/ 1633550 w 291035"/>
              <a:gd name="T77" fmla="*/ 596186 h 291380"/>
              <a:gd name="T78" fmla="*/ 1949381 w 291035"/>
              <a:gd name="T79" fmla="*/ 1181184 h 291380"/>
              <a:gd name="T80" fmla="*/ 2010121 w 291035"/>
              <a:gd name="T81" fmla="*/ 1228944 h 291380"/>
              <a:gd name="T82" fmla="*/ 1301513 w 291035"/>
              <a:gd name="T83" fmla="*/ 1280680 h 291380"/>
              <a:gd name="T84" fmla="*/ 1301513 w 291035"/>
              <a:gd name="T85" fmla="*/ 1181184 h 291380"/>
              <a:gd name="T86" fmla="*/ 1317719 w 291035"/>
              <a:gd name="T87" fmla="*/ 906589 h 291380"/>
              <a:gd name="T88" fmla="*/ 1624691 w 291035"/>
              <a:gd name="T89" fmla="*/ 116152 h 291380"/>
              <a:gd name="T90" fmla="*/ 3072873 w 291035"/>
              <a:gd name="T91" fmla="*/ 1505921 h 291380"/>
              <a:gd name="T92" fmla="*/ 641857 w 291035"/>
              <a:gd name="T93" fmla="*/ 96120 h 291380"/>
              <a:gd name="T94" fmla="*/ 938703 w 291035"/>
              <a:gd name="T95" fmla="*/ 636829 h 291380"/>
              <a:gd name="T96" fmla="*/ 641857 w 291035"/>
              <a:gd name="T97" fmla="*/ 96120 h 291380"/>
              <a:gd name="T98" fmla="*/ 1087136 w 291035"/>
              <a:gd name="T99" fmla="*/ 0 h 291380"/>
              <a:gd name="T100" fmla="*/ 1087136 w 291035"/>
              <a:gd name="T101" fmla="*/ 96120 h 291380"/>
              <a:gd name="T102" fmla="*/ 1034998 w 291035"/>
              <a:gd name="T103" fmla="*/ 544703 h 291380"/>
              <a:gd name="T104" fmla="*/ 1656811 w 291035"/>
              <a:gd name="T105" fmla="*/ 12039 h 291380"/>
              <a:gd name="T106" fmla="*/ 3241363 w 291035"/>
              <a:gd name="T107" fmla="*/ 1574005 h 291380"/>
              <a:gd name="T108" fmla="*/ 2984620 w 291035"/>
              <a:gd name="T109" fmla="*/ 1602055 h 291380"/>
              <a:gd name="T110" fmla="*/ 3197241 w 291035"/>
              <a:gd name="T111" fmla="*/ 3140014 h 291380"/>
              <a:gd name="T112" fmla="*/ 3197241 w 291035"/>
              <a:gd name="T113" fmla="*/ 3240141 h 291380"/>
              <a:gd name="T114" fmla="*/ 0 w 291035"/>
              <a:gd name="T115" fmla="*/ 3192074 h 291380"/>
              <a:gd name="T116" fmla="*/ 264761 w 291035"/>
              <a:gd name="T117" fmla="*/ 3140014 h 291380"/>
              <a:gd name="T118" fmla="*/ 52125 w 291035"/>
              <a:gd name="T119" fmla="*/ 1602055 h 291380"/>
              <a:gd name="T120" fmla="*/ 16024 w 291035"/>
              <a:gd name="T121" fmla="*/ 1517941 h 291380"/>
              <a:gd name="T122" fmla="*/ 545575 w 291035"/>
              <a:gd name="T123" fmla="*/ 96120 h 291380"/>
              <a:gd name="T124" fmla="*/ 445290 w 291035"/>
              <a:gd name="T125" fmla="*/ 48077 h 2913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1035" h="291380">
                <a:moveTo>
                  <a:pt x="158024" y="229827"/>
                </a:moveTo>
                <a:cubicBezTo>
                  <a:pt x="160955" y="229827"/>
                  <a:pt x="162787" y="232025"/>
                  <a:pt x="162787" y="234223"/>
                </a:cubicBezTo>
                <a:cubicBezTo>
                  <a:pt x="162787" y="236788"/>
                  <a:pt x="160955" y="238986"/>
                  <a:pt x="158024" y="238986"/>
                </a:cubicBezTo>
                <a:cubicBezTo>
                  <a:pt x="155826" y="238986"/>
                  <a:pt x="153628" y="236788"/>
                  <a:pt x="153628" y="234223"/>
                </a:cubicBezTo>
                <a:cubicBezTo>
                  <a:pt x="153628" y="232025"/>
                  <a:pt x="155826" y="229827"/>
                  <a:pt x="158024" y="229827"/>
                </a:cubicBezTo>
                <a:close/>
                <a:moveTo>
                  <a:pt x="203156" y="208358"/>
                </a:moveTo>
                <a:lnTo>
                  <a:pt x="203156" y="234724"/>
                </a:lnTo>
                <a:lnTo>
                  <a:pt x="229512" y="234724"/>
                </a:lnTo>
                <a:lnTo>
                  <a:pt x="229512" y="208358"/>
                </a:lnTo>
                <a:lnTo>
                  <a:pt x="203156" y="208358"/>
                </a:lnTo>
                <a:close/>
                <a:moveTo>
                  <a:pt x="61868" y="208358"/>
                </a:moveTo>
                <a:lnTo>
                  <a:pt x="61868" y="234724"/>
                </a:lnTo>
                <a:lnTo>
                  <a:pt x="87869" y="234724"/>
                </a:lnTo>
                <a:lnTo>
                  <a:pt x="87869" y="208358"/>
                </a:lnTo>
                <a:lnTo>
                  <a:pt x="61868" y="208358"/>
                </a:lnTo>
                <a:close/>
                <a:moveTo>
                  <a:pt x="126624" y="185489"/>
                </a:moveTo>
                <a:lnTo>
                  <a:pt x="126624" y="282376"/>
                </a:lnTo>
                <a:lnTo>
                  <a:pt x="164756" y="282376"/>
                </a:lnTo>
                <a:lnTo>
                  <a:pt x="164756" y="185489"/>
                </a:lnTo>
                <a:lnTo>
                  <a:pt x="126624" y="185489"/>
                </a:lnTo>
                <a:close/>
                <a:moveTo>
                  <a:pt x="203156" y="184882"/>
                </a:moveTo>
                <a:lnTo>
                  <a:pt x="203156" y="199329"/>
                </a:lnTo>
                <a:lnTo>
                  <a:pt x="229512" y="199329"/>
                </a:lnTo>
                <a:lnTo>
                  <a:pt x="229512" y="184882"/>
                </a:lnTo>
                <a:lnTo>
                  <a:pt x="203156" y="184882"/>
                </a:lnTo>
                <a:close/>
                <a:moveTo>
                  <a:pt x="61868" y="184882"/>
                </a:moveTo>
                <a:lnTo>
                  <a:pt x="61868" y="199329"/>
                </a:lnTo>
                <a:lnTo>
                  <a:pt x="87869" y="199329"/>
                </a:lnTo>
                <a:lnTo>
                  <a:pt x="87869" y="184882"/>
                </a:lnTo>
                <a:lnTo>
                  <a:pt x="61868" y="184882"/>
                </a:lnTo>
                <a:close/>
                <a:moveTo>
                  <a:pt x="198882" y="175852"/>
                </a:moveTo>
                <a:lnTo>
                  <a:pt x="233786" y="175852"/>
                </a:lnTo>
                <a:cubicBezTo>
                  <a:pt x="236279" y="175852"/>
                  <a:pt x="238060" y="177658"/>
                  <a:pt x="238060" y="180186"/>
                </a:cubicBezTo>
                <a:lnTo>
                  <a:pt x="238060" y="234724"/>
                </a:lnTo>
                <a:lnTo>
                  <a:pt x="239841" y="234724"/>
                </a:lnTo>
                <a:cubicBezTo>
                  <a:pt x="241978" y="234724"/>
                  <a:pt x="243759" y="236891"/>
                  <a:pt x="243759" y="239420"/>
                </a:cubicBezTo>
                <a:cubicBezTo>
                  <a:pt x="243759" y="241948"/>
                  <a:pt x="241978" y="243754"/>
                  <a:pt x="239841" y="243754"/>
                </a:cubicBezTo>
                <a:lnTo>
                  <a:pt x="193183" y="243754"/>
                </a:lnTo>
                <a:cubicBezTo>
                  <a:pt x="190690" y="243754"/>
                  <a:pt x="188553" y="241948"/>
                  <a:pt x="188553" y="239420"/>
                </a:cubicBezTo>
                <a:cubicBezTo>
                  <a:pt x="188553" y="236891"/>
                  <a:pt x="190690" y="234724"/>
                  <a:pt x="193183" y="234724"/>
                </a:cubicBezTo>
                <a:lnTo>
                  <a:pt x="194608" y="234724"/>
                </a:lnTo>
                <a:lnTo>
                  <a:pt x="194608" y="180186"/>
                </a:lnTo>
                <a:cubicBezTo>
                  <a:pt x="194608" y="177658"/>
                  <a:pt x="196389" y="175852"/>
                  <a:pt x="198882" y="175852"/>
                </a:cubicBezTo>
                <a:close/>
                <a:moveTo>
                  <a:pt x="57594" y="175852"/>
                </a:moveTo>
                <a:lnTo>
                  <a:pt x="92499" y="175852"/>
                </a:lnTo>
                <a:cubicBezTo>
                  <a:pt x="94992" y="175852"/>
                  <a:pt x="96773" y="177658"/>
                  <a:pt x="96773" y="180186"/>
                </a:cubicBezTo>
                <a:lnTo>
                  <a:pt x="96773" y="234724"/>
                </a:lnTo>
                <a:lnTo>
                  <a:pt x="98198" y="234724"/>
                </a:lnTo>
                <a:cubicBezTo>
                  <a:pt x="100691" y="234724"/>
                  <a:pt x="102472" y="236891"/>
                  <a:pt x="102472" y="239420"/>
                </a:cubicBezTo>
                <a:cubicBezTo>
                  <a:pt x="102472" y="241948"/>
                  <a:pt x="100691" y="243754"/>
                  <a:pt x="98198" y="243754"/>
                </a:cubicBezTo>
                <a:lnTo>
                  <a:pt x="51539" y="243754"/>
                </a:lnTo>
                <a:cubicBezTo>
                  <a:pt x="49402" y="243754"/>
                  <a:pt x="47265" y="241948"/>
                  <a:pt x="47265" y="239420"/>
                </a:cubicBezTo>
                <a:cubicBezTo>
                  <a:pt x="47265" y="236891"/>
                  <a:pt x="49402" y="234724"/>
                  <a:pt x="51539" y="234724"/>
                </a:cubicBezTo>
                <a:lnTo>
                  <a:pt x="52964" y="234724"/>
                </a:lnTo>
                <a:lnTo>
                  <a:pt x="52964" y="180186"/>
                </a:lnTo>
                <a:cubicBezTo>
                  <a:pt x="52964" y="177658"/>
                  <a:pt x="55101" y="175852"/>
                  <a:pt x="57594" y="175852"/>
                </a:cubicBezTo>
                <a:close/>
                <a:moveTo>
                  <a:pt x="32375" y="144069"/>
                </a:moveTo>
                <a:lnTo>
                  <a:pt x="32375" y="282376"/>
                </a:lnTo>
                <a:lnTo>
                  <a:pt x="117631" y="282376"/>
                </a:lnTo>
                <a:lnTo>
                  <a:pt x="117631" y="185489"/>
                </a:lnTo>
                <a:lnTo>
                  <a:pt x="116192" y="185489"/>
                </a:lnTo>
                <a:cubicBezTo>
                  <a:pt x="113674" y="185489"/>
                  <a:pt x="111875" y="183688"/>
                  <a:pt x="111875" y="180807"/>
                </a:cubicBezTo>
                <a:cubicBezTo>
                  <a:pt x="111875" y="178286"/>
                  <a:pt x="113674" y="176485"/>
                  <a:pt x="116192" y="176485"/>
                </a:cubicBezTo>
                <a:lnTo>
                  <a:pt x="175188" y="176485"/>
                </a:lnTo>
                <a:cubicBezTo>
                  <a:pt x="177346" y="176485"/>
                  <a:pt x="179145" y="178286"/>
                  <a:pt x="179145" y="180807"/>
                </a:cubicBezTo>
                <a:cubicBezTo>
                  <a:pt x="179145" y="183688"/>
                  <a:pt x="177346" y="185489"/>
                  <a:pt x="175188" y="185489"/>
                </a:cubicBezTo>
                <a:lnTo>
                  <a:pt x="173749" y="185489"/>
                </a:lnTo>
                <a:lnTo>
                  <a:pt x="173749" y="282376"/>
                </a:lnTo>
                <a:lnTo>
                  <a:pt x="258645" y="282376"/>
                </a:lnTo>
                <a:lnTo>
                  <a:pt x="258645" y="144069"/>
                </a:lnTo>
                <a:lnTo>
                  <a:pt x="32375" y="144069"/>
                </a:lnTo>
                <a:close/>
                <a:moveTo>
                  <a:pt x="146484" y="62562"/>
                </a:moveTo>
                <a:cubicBezTo>
                  <a:pt x="135954" y="62562"/>
                  <a:pt x="127240" y="70793"/>
                  <a:pt x="127240" y="81529"/>
                </a:cubicBezTo>
                <a:lnTo>
                  <a:pt x="127240" y="106222"/>
                </a:lnTo>
                <a:lnTo>
                  <a:pt x="165728" y="106222"/>
                </a:lnTo>
                <a:lnTo>
                  <a:pt x="165728" y="81529"/>
                </a:lnTo>
                <a:cubicBezTo>
                  <a:pt x="165728" y="70793"/>
                  <a:pt x="157014" y="62562"/>
                  <a:pt x="146484" y="62562"/>
                </a:cubicBezTo>
                <a:close/>
                <a:moveTo>
                  <a:pt x="146484" y="53615"/>
                </a:moveTo>
                <a:cubicBezTo>
                  <a:pt x="161734" y="53615"/>
                  <a:pt x="174806" y="66141"/>
                  <a:pt x="174806" y="81529"/>
                </a:cubicBezTo>
                <a:lnTo>
                  <a:pt x="174806" y="106222"/>
                </a:lnTo>
                <a:lnTo>
                  <a:pt x="176258" y="106222"/>
                </a:lnTo>
                <a:cubicBezTo>
                  <a:pt x="178437" y="106222"/>
                  <a:pt x="180252" y="108370"/>
                  <a:pt x="180252" y="110517"/>
                </a:cubicBezTo>
                <a:cubicBezTo>
                  <a:pt x="180252" y="113022"/>
                  <a:pt x="178437" y="115169"/>
                  <a:pt x="176258" y="115169"/>
                </a:cubicBezTo>
                <a:lnTo>
                  <a:pt x="116710" y="115169"/>
                </a:lnTo>
                <a:cubicBezTo>
                  <a:pt x="114169" y="115169"/>
                  <a:pt x="112353" y="113022"/>
                  <a:pt x="112353" y="110517"/>
                </a:cubicBezTo>
                <a:cubicBezTo>
                  <a:pt x="112353" y="108370"/>
                  <a:pt x="114169" y="106222"/>
                  <a:pt x="116710" y="106222"/>
                </a:cubicBezTo>
                <a:lnTo>
                  <a:pt x="118163" y="106222"/>
                </a:lnTo>
                <a:lnTo>
                  <a:pt x="118163" y="81529"/>
                </a:lnTo>
                <a:cubicBezTo>
                  <a:pt x="118163" y="66141"/>
                  <a:pt x="130871" y="53615"/>
                  <a:pt x="146484" y="53615"/>
                </a:cubicBezTo>
                <a:close/>
                <a:moveTo>
                  <a:pt x="145690" y="10445"/>
                </a:moveTo>
                <a:lnTo>
                  <a:pt x="15468" y="135425"/>
                </a:lnTo>
                <a:lnTo>
                  <a:pt x="275552" y="135425"/>
                </a:lnTo>
                <a:lnTo>
                  <a:pt x="145690" y="10445"/>
                </a:lnTo>
                <a:close/>
                <a:moveTo>
                  <a:pt x="57556" y="8644"/>
                </a:moveTo>
                <a:lnTo>
                  <a:pt x="57556" y="82840"/>
                </a:lnTo>
                <a:lnTo>
                  <a:pt x="84176" y="57268"/>
                </a:lnTo>
                <a:lnTo>
                  <a:pt x="84176" y="8644"/>
                </a:lnTo>
                <a:lnTo>
                  <a:pt x="57556" y="8644"/>
                </a:lnTo>
                <a:close/>
                <a:moveTo>
                  <a:pt x="44246" y="0"/>
                </a:moveTo>
                <a:lnTo>
                  <a:pt x="97486" y="0"/>
                </a:lnTo>
                <a:cubicBezTo>
                  <a:pt x="99645" y="0"/>
                  <a:pt x="101803" y="1801"/>
                  <a:pt x="101803" y="4322"/>
                </a:cubicBezTo>
                <a:cubicBezTo>
                  <a:pt x="101803" y="6843"/>
                  <a:pt x="99645" y="8644"/>
                  <a:pt x="97486" y="8644"/>
                </a:cubicBezTo>
                <a:lnTo>
                  <a:pt x="92810" y="8644"/>
                </a:lnTo>
                <a:lnTo>
                  <a:pt x="92810" y="48984"/>
                </a:lnTo>
                <a:lnTo>
                  <a:pt x="142453" y="1081"/>
                </a:lnTo>
                <a:cubicBezTo>
                  <a:pt x="144251" y="-360"/>
                  <a:pt x="147129" y="-360"/>
                  <a:pt x="148568" y="1081"/>
                </a:cubicBezTo>
                <a:lnTo>
                  <a:pt x="289941" y="136506"/>
                </a:lnTo>
                <a:cubicBezTo>
                  <a:pt x="291021" y="137946"/>
                  <a:pt x="291380" y="139747"/>
                  <a:pt x="290661" y="141548"/>
                </a:cubicBezTo>
                <a:cubicBezTo>
                  <a:pt x="289941" y="142989"/>
                  <a:pt x="288503" y="144069"/>
                  <a:pt x="286704" y="144069"/>
                </a:cubicBezTo>
                <a:lnTo>
                  <a:pt x="267638" y="144069"/>
                </a:lnTo>
                <a:lnTo>
                  <a:pt x="267638" y="282376"/>
                </a:lnTo>
                <a:lnTo>
                  <a:pt x="286704" y="282376"/>
                </a:lnTo>
                <a:cubicBezTo>
                  <a:pt x="289222" y="282376"/>
                  <a:pt x="291021" y="284537"/>
                  <a:pt x="291021" y="287058"/>
                </a:cubicBezTo>
                <a:cubicBezTo>
                  <a:pt x="291021" y="289219"/>
                  <a:pt x="289222" y="291380"/>
                  <a:pt x="286704" y="291380"/>
                </a:cubicBezTo>
                <a:lnTo>
                  <a:pt x="4676" y="291380"/>
                </a:lnTo>
                <a:cubicBezTo>
                  <a:pt x="2158" y="291380"/>
                  <a:pt x="0" y="289219"/>
                  <a:pt x="0" y="287058"/>
                </a:cubicBezTo>
                <a:cubicBezTo>
                  <a:pt x="0" y="284537"/>
                  <a:pt x="2158" y="282376"/>
                  <a:pt x="4676" y="282376"/>
                </a:cubicBezTo>
                <a:lnTo>
                  <a:pt x="23742" y="282376"/>
                </a:lnTo>
                <a:lnTo>
                  <a:pt x="23742" y="144069"/>
                </a:lnTo>
                <a:lnTo>
                  <a:pt x="4676" y="144069"/>
                </a:lnTo>
                <a:cubicBezTo>
                  <a:pt x="2877" y="144069"/>
                  <a:pt x="1079" y="142989"/>
                  <a:pt x="359" y="141548"/>
                </a:cubicBezTo>
                <a:cubicBezTo>
                  <a:pt x="-360" y="139747"/>
                  <a:pt x="0" y="137946"/>
                  <a:pt x="1439" y="136506"/>
                </a:cubicBezTo>
                <a:lnTo>
                  <a:pt x="48923" y="91124"/>
                </a:lnTo>
                <a:lnTo>
                  <a:pt x="48923" y="8644"/>
                </a:lnTo>
                <a:lnTo>
                  <a:pt x="44246" y="8644"/>
                </a:lnTo>
                <a:cubicBezTo>
                  <a:pt x="42088" y="8644"/>
                  <a:pt x="39930" y="6843"/>
                  <a:pt x="39930" y="4322"/>
                </a:cubicBezTo>
                <a:cubicBezTo>
                  <a:pt x="39930" y="1801"/>
                  <a:pt x="42088" y="0"/>
                  <a:pt x="44246" y="0"/>
                </a:cubicBezTo>
                <a:close/>
              </a:path>
            </a:pathLst>
          </a:custGeom>
          <a:solidFill>
            <a:srgbClr val="00A6CA"/>
          </a:solidFill>
          <a:ln>
            <a:noFill/>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272727"/>
              </a:solidFill>
              <a:effectLst/>
              <a:uLnTx/>
              <a:uFillTx/>
              <a:latin typeface="Lato Light" panose="020F0502020204030203" pitchFamily="34" charset="0"/>
            </a:endParaRPr>
          </a:p>
        </p:txBody>
      </p:sp>
      <p:pic>
        <p:nvPicPr>
          <p:cNvPr id="239" name="Graphic 18" descr="Car outline">
            <a:extLst>
              <a:ext uri="{FF2B5EF4-FFF2-40B4-BE49-F238E27FC236}">
                <a16:creationId xmlns:a16="http://schemas.microsoft.com/office/drawing/2014/main" id="{EAA3819E-F564-9147-9ED4-DF25C9AEDB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09379" y="3903890"/>
            <a:ext cx="474427" cy="474427"/>
          </a:xfrm>
          <a:prstGeom prst="rect">
            <a:avLst/>
          </a:prstGeom>
        </p:spPr>
      </p:pic>
      <p:sp>
        <p:nvSpPr>
          <p:cNvPr id="240" name="TextBox 239"/>
          <p:cNvSpPr txBox="1"/>
          <p:nvPr/>
        </p:nvSpPr>
        <p:spPr>
          <a:xfrm>
            <a:off x="741826" y="2449759"/>
            <a:ext cx="3327705" cy="830997"/>
          </a:xfrm>
          <a:prstGeom prst="rect">
            <a:avLst/>
          </a:prstGeom>
          <a:noFill/>
        </p:spPr>
        <p:txBody>
          <a:bodyPr wrap="square" rtlCol="0">
            <a:spAutoFit/>
          </a:bodyPr>
          <a:lstStyle/>
          <a:p>
            <a:pPr algn="ctr"/>
            <a:r>
              <a:rPr lang="en-US" sz="1600" b="1" dirty="0" err="1">
                <a:solidFill>
                  <a:srgbClr val="000000"/>
                </a:solidFill>
              </a:rPr>
              <a:t>Seguros</a:t>
            </a:r>
            <a:r>
              <a:rPr lang="en-US" sz="1600" b="1" dirty="0">
                <a:solidFill>
                  <a:srgbClr val="000000"/>
                </a:solidFill>
              </a:rPr>
              <a:t> </a:t>
            </a:r>
            <a:r>
              <a:rPr lang="en-US" sz="1600" b="1" dirty="0" err="1">
                <a:solidFill>
                  <a:srgbClr val="000000"/>
                </a:solidFill>
              </a:rPr>
              <a:t>tradicionales</a:t>
            </a:r>
            <a:r>
              <a:rPr lang="en-US" sz="1600" b="1" dirty="0">
                <a:solidFill>
                  <a:srgbClr val="000000"/>
                </a:solidFill>
              </a:rPr>
              <a:t>
</a:t>
            </a:r>
            <a:r>
              <a:rPr lang="en-US" sz="1600" b="1" dirty="0" err="1">
                <a:solidFill>
                  <a:srgbClr val="000000"/>
                </a:solidFill>
              </a:rPr>
              <a:t>Activos</a:t>
            </a:r>
            <a:r>
              <a:rPr lang="en-US" sz="1600" b="1" dirty="0">
                <a:solidFill>
                  <a:srgbClr val="000000"/>
                </a:solidFill>
              </a:rPr>
              <a:t> </a:t>
            </a:r>
            <a:r>
              <a:rPr lang="en-US" sz="1600" b="1" dirty="0" err="1">
                <a:solidFill>
                  <a:srgbClr val="000000"/>
                </a:solidFill>
              </a:rPr>
              <a:t>materiales</a:t>
            </a:r>
            <a:r>
              <a:rPr lang="en-US" sz="1600" b="1" dirty="0">
                <a:solidFill>
                  <a:srgbClr val="000000"/>
                </a:solidFill>
              </a:rPr>
              <a:t>
</a:t>
            </a:r>
            <a:endParaRPr lang="en-US" sz="1600" b="1" dirty="0">
              <a:solidFill>
                <a:srgbClr val="000000"/>
              </a:solidFill>
              <a:latin typeface="Arial"/>
            </a:endParaRPr>
          </a:p>
        </p:txBody>
      </p:sp>
      <p:sp>
        <p:nvSpPr>
          <p:cNvPr id="242" name="Freeform 954">
            <a:extLst>
              <a:ext uri="{FF2B5EF4-FFF2-40B4-BE49-F238E27FC236}">
                <a16:creationId xmlns:a16="http://schemas.microsoft.com/office/drawing/2014/main" id="{11FEFA8D-F474-1E47-A20C-5670E1FA0194}"/>
              </a:ext>
            </a:extLst>
          </p:cNvPr>
          <p:cNvSpPr>
            <a:spLocks noChangeAspect="1" noChangeArrowheads="1"/>
          </p:cNvSpPr>
          <p:nvPr/>
        </p:nvSpPr>
        <p:spPr bwMode="auto">
          <a:xfrm>
            <a:off x="1352802" y="3194161"/>
            <a:ext cx="1095207" cy="1095209"/>
          </a:xfrm>
          <a:custGeom>
            <a:avLst/>
            <a:gdLst>
              <a:gd name="T0" fmla="*/ 1903751 w 296503"/>
              <a:gd name="T1" fmla="*/ 2879004 h 296502"/>
              <a:gd name="T2" fmla="*/ 1612911 w 296503"/>
              <a:gd name="T3" fmla="*/ 2879004 h 296502"/>
              <a:gd name="T4" fmla="*/ 1318086 w 296503"/>
              <a:gd name="T5" fmla="*/ 2879004 h 296502"/>
              <a:gd name="T6" fmla="*/ 745752 w 296503"/>
              <a:gd name="T7" fmla="*/ 2879004 h 296502"/>
              <a:gd name="T8" fmla="*/ 466185 w 296503"/>
              <a:gd name="T9" fmla="*/ 2879004 h 296502"/>
              <a:gd name="T10" fmla="*/ 1903751 w 296503"/>
              <a:gd name="T11" fmla="*/ 2618840 h 296502"/>
              <a:gd name="T12" fmla="*/ 1612911 w 296503"/>
              <a:gd name="T13" fmla="*/ 2618840 h 296502"/>
              <a:gd name="T14" fmla="*/ 1318086 w 296503"/>
              <a:gd name="T15" fmla="*/ 2618840 h 296502"/>
              <a:gd name="T16" fmla="*/ 745752 w 296503"/>
              <a:gd name="T17" fmla="*/ 2618840 h 296502"/>
              <a:gd name="T18" fmla="*/ 466185 w 296503"/>
              <a:gd name="T19" fmla="*/ 2618840 h 296502"/>
              <a:gd name="T20" fmla="*/ 1903751 w 296503"/>
              <a:gd name="T21" fmla="*/ 2358694 h 296502"/>
              <a:gd name="T22" fmla="*/ 1612911 w 296503"/>
              <a:gd name="T23" fmla="*/ 2358694 h 296502"/>
              <a:gd name="T24" fmla="*/ 1318086 w 296503"/>
              <a:gd name="T25" fmla="*/ 2358694 h 296502"/>
              <a:gd name="T26" fmla="*/ 745752 w 296503"/>
              <a:gd name="T27" fmla="*/ 2358694 h 296502"/>
              <a:gd name="T28" fmla="*/ 466185 w 296503"/>
              <a:gd name="T29" fmla="*/ 2358694 h 296502"/>
              <a:gd name="T30" fmla="*/ 1903751 w 296503"/>
              <a:gd name="T31" fmla="*/ 2098547 h 296502"/>
              <a:gd name="T32" fmla="*/ 1612911 w 296503"/>
              <a:gd name="T33" fmla="*/ 2098547 h 296502"/>
              <a:gd name="T34" fmla="*/ 1318086 w 296503"/>
              <a:gd name="T35" fmla="*/ 2098547 h 296502"/>
              <a:gd name="T36" fmla="*/ 745752 w 296503"/>
              <a:gd name="T37" fmla="*/ 2098547 h 296502"/>
              <a:gd name="T38" fmla="*/ 466185 w 296503"/>
              <a:gd name="T39" fmla="*/ 2098547 h 296502"/>
              <a:gd name="T40" fmla="*/ 1903751 w 296503"/>
              <a:gd name="T41" fmla="*/ 1821050 h 296502"/>
              <a:gd name="T42" fmla="*/ 1612911 w 296503"/>
              <a:gd name="T43" fmla="*/ 1821050 h 296502"/>
              <a:gd name="T44" fmla="*/ 1318086 w 296503"/>
              <a:gd name="T45" fmla="*/ 1821050 h 296502"/>
              <a:gd name="T46" fmla="*/ 745752 w 296503"/>
              <a:gd name="T47" fmla="*/ 1821050 h 296502"/>
              <a:gd name="T48" fmla="*/ 466185 w 296503"/>
              <a:gd name="T49" fmla="*/ 1821050 h 296502"/>
              <a:gd name="T50" fmla="*/ 1903751 w 296503"/>
              <a:gd name="T51" fmla="*/ 1578244 h 296502"/>
              <a:gd name="T52" fmla="*/ 1612911 w 296503"/>
              <a:gd name="T53" fmla="*/ 1578244 h 296502"/>
              <a:gd name="T54" fmla="*/ 1318086 w 296503"/>
              <a:gd name="T55" fmla="*/ 1578244 h 296502"/>
              <a:gd name="T56" fmla="*/ 745752 w 296503"/>
              <a:gd name="T57" fmla="*/ 1578244 h 296502"/>
              <a:gd name="T58" fmla="*/ 466185 w 296503"/>
              <a:gd name="T59" fmla="*/ 1578244 h 296502"/>
              <a:gd name="T60" fmla="*/ 1903751 w 296503"/>
              <a:gd name="T61" fmla="*/ 1318097 h 296502"/>
              <a:gd name="T62" fmla="*/ 1612911 w 296503"/>
              <a:gd name="T63" fmla="*/ 1318097 h 296502"/>
              <a:gd name="T64" fmla="*/ 1318086 w 296503"/>
              <a:gd name="T65" fmla="*/ 1318097 h 296502"/>
              <a:gd name="T66" fmla="*/ 745752 w 296503"/>
              <a:gd name="T67" fmla="*/ 1318097 h 296502"/>
              <a:gd name="T68" fmla="*/ 466185 w 296503"/>
              <a:gd name="T69" fmla="*/ 1318097 h 296502"/>
              <a:gd name="T70" fmla="*/ 2762988 w 296503"/>
              <a:gd name="T71" fmla="*/ 1601927 h 296502"/>
              <a:gd name="T72" fmla="*/ 2762988 w 296503"/>
              <a:gd name="T73" fmla="*/ 1932548 h 296502"/>
              <a:gd name="T74" fmla="*/ 2762988 w 296503"/>
              <a:gd name="T75" fmla="*/ 2255303 h 296502"/>
              <a:gd name="T76" fmla="*/ 2762988 w 296503"/>
              <a:gd name="T77" fmla="*/ 2585906 h 296502"/>
              <a:gd name="T78" fmla="*/ 2762988 w 296503"/>
              <a:gd name="T79" fmla="*/ 2912589 h 296502"/>
              <a:gd name="T80" fmla="*/ 2259190 w 296503"/>
              <a:gd name="T81" fmla="*/ 1279188 h 296502"/>
              <a:gd name="T82" fmla="*/ 1903751 w 296503"/>
              <a:gd name="T83" fmla="*/ 1040610 h 296502"/>
              <a:gd name="T84" fmla="*/ 1612911 w 296503"/>
              <a:gd name="T85" fmla="*/ 1040610 h 296502"/>
              <a:gd name="T86" fmla="*/ 1318086 w 296503"/>
              <a:gd name="T87" fmla="*/ 1040610 h 296502"/>
              <a:gd name="T88" fmla="*/ 745752 w 296503"/>
              <a:gd name="T89" fmla="*/ 1040610 h 296502"/>
              <a:gd name="T90" fmla="*/ 466185 w 296503"/>
              <a:gd name="T91" fmla="*/ 1040610 h 296502"/>
              <a:gd name="T92" fmla="*/ 228262 w 296503"/>
              <a:gd name="T93" fmla="*/ 885600 h 296502"/>
              <a:gd name="T94" fmla="*/ 1903751 w 296503"/>
              <a:gd name="T95" fmla="*/ 780449 h 296502"/>
              <a:gd name="T96" fmla="*/ 1612911 w 296503"/>
              <a:gd name="T97" fmla="*/ 780449 h 296502"/>
              <a:gd name="T98" fmla="*/ 1318086 w 296503"/>
              <a:gd name="T99" fmla="*/ 780449 h 296502"/>
              <a:gd name="T100" fmla="*/ 1903751 w 296503"/>
              <a:gd name="T101" fmla="*/ 520307 h 296502"/>
              <a:gd name="T102" fmla="*/ 1612911 w 296503"/>
              <a:gd name="T103" fmla="*/ 520307 h 296502"/>
              <a:gd name="T104" fmla="*/ 1318086 w 296503"/>
              <a:gd name="T105" fmla="*/ 520307 h 296502"/>
              <a:gd name="T106" fmla="*/ 1903751 w 296503"/>
              <a:gd name="T107" fmla="*/ 260146 h 296502"/>
              <a:gd name="T108" fmla="*/ 1612911 w 296503"/>
              <a:gd name="T109" fmla="*/ 260146 h 296502"/>
              <a:gd name="T110" fmla="*/ 1318086 w 296503"/>
              <a:gd name="T111" fmla="*/ 260146 h 296502"/>
              <a:gd name="T112" fmla="*/ 1082377 w 296503"/>
              <a:gd name="T113" fmla="*/ 98402 h 296502"/>
              <a:gd name="T114" fmla="*/ 2259190 w 296503"/>
              <a:gd name="T115" fmla="*/ 98402 h 296502"/>
              <a:gd name="T116" fmla="*/ 3109349 w 296503"/>
              <a:gd name="T117" fmla="*/ 1279188 h 296502"/>
              <a:gd name="T118" fmla="*/ 51187 w 296503"/>
              <a:gd name="T119" fmla="*/ 3239269 h 296502"/>
              <a:gd name="T120" fmla="*/ 51187 w 296503"/>
              <a:gd name="T121" fmla="*/ 885600 h 296502"/>
              <a:gd name="T122" fmla="*/ 901317 w 296503"/>
              <a:gd name="T123" fmla="*/ 98402 h 2965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6503" h="296502">
                <a:moveTo>
                  <a:pt x="174259" y="263525"/>
                </a:moveTo>
                <a:cubicBezTo>
                  <a:pt x="176824" y="263525"/>
                  <a:pt x="179022" y="265357"/>
                  <a:pt x="179022" y="267921"/>
                </a:cubicBezTo>
                <a:cubicBezTo>
                  <a:pt x="179022" y="270486"/>
                  <a:pt x="176824" y="272684"/>
                  <a:pt x="174259" y="272684"/>
                </a:cubicBezTo>
                <a:cubicBezTo>
                  <a:pt x="172061" y="272684"/>
                  <a:pt x="169863" y="270486"/>
                  <a:pt x="169863" y="267921"/>
                </a:cubicBezTo>
                <a:cubicBezTo>
                  <a:pt x="169863" y="265357"/>
                  <a:pt x="172061" y="263525"/>
                  <a:pt x="174259" y="263525"/>
                </a:cubicBezTo>
                <a:close/>
                <a:moveTo>
                  <a:pt x="147638" y="263525"/>
                </a:moveTo>
                <a:cubicBezTo>
                  <a:pt x="150202" y="263525"/>
                  <a:pt x="152034" y="265357"/>
                  <a:pt x="152034" y="267921"/>
                </a:cubicBezTo>
                <a:cubicBezTo>
                  <a:pt x="152034" y="270486"/>
                  <a:pt x="150202" y="272684"/>
                  <a:pt x="147638" y="272684"/>
                </a:cubicBezTo>
                <a:cubicBezTo>
                  <a:pt x="144707" y="272684"/>
                  <a:pt x="142875" y="270486"/>
                  <a:pt x="142875" y="267921"/>
                </a:cubicBezTo>
                <a:cubicBezTo>
                  <a:pt x="142875" y="265357"/>
                  <a:pt x="144707" y="263525"/>
                  <a:pt x="147638" y="263525"/>
                </a:cubicBezTo>
                <a:close/>
                <a:moveTo>
                  <a:pt x="120651" y="263525"/>
                </a:moveTo>
                <a:cubicBezTo>
                  <a:pt x="122849" y="263525"/>
                  <a:pt x="125047" y="265357"/>
                  <a:pt x="125047" y="267921"/>
                </a:cubicBezTo>
                <a:cubicBezTo>
                  <a:pt x="125047" y="270486"/>
                  <a:pt x="122849" y="272684"/>
                  <a:pt x="120651" y="272684"/>
                </a:cubicBezTo>
                <a:cubicBezTo>
                  <a:pt x="118086" y="272684"/>
                  <a:pt x="115888" y="270486"/>
                  <a:pt x="115888" y="267921"/>
                </a:cubicBezTo>
                <a:cubicBezTo>
                  <a:pt x="115888" y="265357"/>
                  <a:pt x="118086" y="263525"/>
                  <a:pt x="120651" y="263525"/>
                </a:cubicBezTo>
                <a:close/>
                <a:moveTo>
                  <a:pt x="68263" y="263525"/>
                </a:moveTo>
                <a:cubicBezTo>
                  <a:pt x="70827" y="263525"/>
                  <a:pt x="72659" y="265357"/>
                  <a:pt x="72659" y="267921"/>
                </a:cubicBezTo>
                <a:cubicBezTo>
                  <a:pt x="72659" y="270486"/>
                  <a:pt x="70827" y="272684"/>
                  <a:pt x="68263" y="272684"/>
                </a:cubicBezTo>
                <a:cubicBezTo>
                  <a:pt x="65698" y="272684"/>
                  <a:pt x="63500" y="270486"/>
                  <a:pt x="63500" y="267921"/>
                </a:cubicBezTo>
                <a:cubicBezTo>
                  <a:pt x="63500" y="265357"/>
                  <a:pt x="65698" y="263525"/>
                  <a:pt x="68263" y="263525"/>
                </a:cubicBezTo>
                <a:close/>
                <a:moveTo>
                  <a:pt x="42672" y="263525"/>
                </a:moveTo>
                <a:cubicBezTo>
                  <a:pt x="45339" y="263525"/>
                  <a:pt x="47244" y="265357"/>
                  <a:pt x="47244" y="267921"/>
                </a:cubicBezTo>
                <a:cubicBezTo>
                  <a:pt x="47244" y="270486"/>
                  <a:pt x="45339" y="272684"/>
                  <a:pt x="42672" y="272684"/>
                </a:cubicBezTo>
                <a:cubicBezTo>
                  <a:pt x="40005" y="272684"/>
                  <a:pt x="38100" y="270486"/>
                  <a:pt x="38100" y="267921"/>
                </a:cubicBezTo>
                <a:cubicBezTo>
                  <a:pt x="38100" y="265357"/>
                  <a:pt x="40005" y="263525"/>
                  <a:pt x="42672" y="263525"/>
                </a:cubicBezTo>
                <a:close/>
                <a:moveTo>
                  <a:pt x="174259" y="239712"/>
                </a:moveTo>
                <a:cubicBezTo>
                  <a:pt x="176824" y="239712"/>
                  <a:pt x="179022" y="241910"/>
                  <a:pt x="179022" y="244108"/>
                </a:cubicBezTo>
                <a:cubicBezTo>
                  <a:pt x="179022" y="246673"/>
                  <a:pt x="176824" y="248871"/>
                  <a:pt x="174259" y="248871"/>
                </a:cubicBezTo>
                <a:cubicBezTo>
                  <a:pt x="172061" y="248871"/>
                  <a:pt x="169863" y="246673"/>
                  <a:pt x="169863" y="244108"/>
                </a:cubicBezTo>
                <a:cubicBezTo>
                  <a:pt x="169863" y="241910"/>
                  <a:pt x="172061" y="239712"/>
                  <a:pt x="174259" y="239712"/>
                </a:cubicBezTo>
                <a:close/>
                <a:moveTo>
                  <a:pt x="147638" y="239712"/>
                </a:moveTo>
                <a:cubicBezTo>
                  <a:pt x="150202" y="239712"/>
                  <a:pt x="152034" y="241910"/>
                  <a:pt x="152034" y="244108"/>
                </a:cubicBezTo>
                <a:cubicBezTo>
                  <a:pt x="152034" y="246673"/>
                  <a:pt x="150202" y="248871"/>
                  <a:pt x="147638" y="248871"/>
                </a:cubicBezTo>
                <a:cubicBezTo>
                  <a:pt x="144707" y="248871"/>
                  <a:pt x="142875" y="246673"/>
                  <a:pt x="142875" y="244108"/>
                </a:cubicBezTo>
                <a:cubicBezTo>
                  <a:pt x="142875" y="241910"/>
                  <a:pt x="144707" y="239712"/>
                  <a:pt x="147638" y="239712"/>
                </a:cubicBezTo>
                <a:close/>
                <a:moveTo>
                  <a:pt x="120651" y="239712"/>
                </a:moveTo>
                <a:cubicBezTo>
                  <a:pt x="122849" y="239712"/>
                  <a:pt x="125047" y="241910"/>
                  <a:pt x="125047" y="244108"/>
                </a:cubicBezTo>
                <a:cubicBezTo>
                  <a:pt x="125047" y="246673"/>
                  <a:pt x="122849" y="248871"/>
                  <a:pt x="120651" y="248871"/>
                </a:cubicBezTo>
                <a:cubicBezTo>
                  <a:pt x="118086" y="248871"/>
                  <a:pt x="115888" y="246673"/>
                  <a:pt x="115888" y="244108"/>
                </a:cubicBezTo>
                <a:cubicBezTo>
                  <a:pt x="115888" y="241910"/>
                  <a:pt x="118086" y="239712"/>
                  <a:pt x="120651" y="239712"/>
                </a:cubicBezTo>
                <a:close/>
                <a:moveTo>
                  <a:pt x="68263" y="239712"/>
                </a:moveTo>
                <a:cubicBezTo>
                  <a:pt x="70827" y="239712"/>
                  <a:pt x="72659" y="241910"/>
                  <a:pt x="72659" y="244108"/>
                </a:cubicBezTo>
                <a:cubicBezTo>
                  <a:pt x="72659" y="246673"/>
                  <a:pt x="70827" y="248871"/>
                  <a:pt x="68263" y="248871"/>
                </a:cubicBezTo>
                <a:cubicBezTo>
                  <a:pt x="65698" y="248871"/>
                  <a:pt x="63500" y="246673"/>
                  <a:pt x="63500" y="244108"/>
                </a:cubicBezTo>
                <a:cubicBezTo>
                  <a:pt x="63500" y="241910"/>
                  <a:pt x="65698" y="239712"/>
                  <a:pt x="68263" y="239712"/>
                </a:cubicBezTo>
                <a:close/>
                <a:moveTo>
                  <a:pt x="42672" y="239712"/>
                </a:moveTo>
                <a:cubicBezTo>
                  <a:pt x="45339" y="239712"/>
                  <a:pt x="47244" y="241910"/>
                  <a:pt x="47244" y="244108"/>
                </a:cubicBezTo>
                <a:cubicBezTo>
                  <a:pt x="47244" y="246673"/>
                  <a:pt x="45339" y="248871"/>
                  <a:pt x="42672" y="248871"/>
                </a:cubicBezTo>
                <a:cubicBezTo>
                  <a:pt x="40005" y="248871"/>
                  <a:pt x="38100" y="246673"/>
                  <a:pt x="38100" y="244108"/>
                </a:cubicBezTo>
                <a:cubicBezTo>
                  <a:pt x="38100" y="241910"/>
                  <a:pt x="40005" y="239712"/>
                  <a:pt x="42672" y="239712"/>
                </a:cubicBezTo>
                <a:close/>
                <a:moveTo>
                  <a:pt x="174259" y="215900"/>
                </a:moveTo>
                <a:cubicBezTo>
                  <a:pt x="176824" y="215900"/>
                  <a:pt x="179022" y="217805"/>
                  <a:pt x="179022" y="220472"/>
                </a:cubicBezTo>
                <a:cubicBezTo>
                  <a:pt x="179022" y="223139"/>
                  <a:pt x="176824" y="225044"/>
                  <a:pt x="174259" y="225044"/>
                </a:cubicBezTo>
                <a:cubicBezTo>
                  <a:pt x="172061" y="225044"/>
                  <a:pt x="169863" y="223139"/>
                  <a:pt x="169863" y="220472"/>
                </a:cubicBezTo>
                <a:cubicBezTo>
                  <a:pt x="169863" y="217805"/>
                  <a:pt x="172061" y="215900"/>
                  <a:pt x="174259" y="215900"/>
                </a:cubicBezTo>
                <a:close/>
                <a:moveTo>
                  <a:pt x="147638" y="215900"/>
                </a:moveTo>
                <a:cubicBezTo>
                  <a:pt x="150202" y="215900"/>
                  <a:pt x="152034" y="217805"/>
                  <a:pt x="152034" y="220472"/>
                </a:cubicBezTo>
                <a:cubicBezTo>
                  <a:pt x="152034" y="223139"/>
                  <a:pt x="150202" y="225044"/>
                  <a:pt x="147638" y="225044"/>
                </a:cubicBezTo>
                <a:cubicBezTo>
                  <a:pt x="144707" y="225044"/>
                  <a:pt x="142875" y="223139"/>
                  <a:pt x="142875" y="220472"/>
                </a:cubicBezTo>
                <a:cubicBezTo>
                  <a:pt x="142875" y="217805"/>
                  <a:pt x="144707" y="215900"/>
                  <a:pt x="147638" y="215900"/>
                </a:cubicBezTo>
                <a:close/>
                <a:moveTo>
                  <a:pt x="120651" y="215900"/>
                </a:moveTo>
                <a:cubicBezTo>
                  <a:pt x="122849" y="215900"/>
                  <a:pt x="125047" y="217805"/>
                  <a:pt x="125047" y="220472"/>
                </a:cubicBezTo>
                <a:cubicBezTo>
                  <a:pt x="125047" y="223139"/>
                  <a:pt x="122849" y="225044"/>
                  <a:pt x="120651" y="225044"/>
                </a:cubicBezTo>
                <a:cubicBezTo>
                  <a:pt x="118086" y="225044"/>
                  <a:pt x="115888" y="223139"/>
                  <a:pt x="115888" y="220472"/>
                </a:cubicBezTo>
                <a:cubicBezTo>
                  <a:pt x="115888" y="217805"/>
                  <a:pt x="118086" y="215900"/>
                  <a:pt x="120651" y="215900"/>
                </a:cubicBezTo>
                <a:close/>
                <a:moveTo>
                  <a:pt x="68263" y="215900"/>
                </a:moveTo>
                <a:cubicBezTo>
                  <a:pt x="70827" y="215900"/>
                  <a:pt x="72659" y="217805"/>
                  <a:pt x="72659" y="220472"/>
                </a:cubicBezTo>
                <a:cubicBezTo>
                  <a:pt x="72659" y="223139"/>
                  <a:pt x="70827" y="225044"/>
                  <a:pt x="68263" y="225044"/>
                </a:cubicBezTo>
                <a:cubicBezTo>
                  <a:pt x="65698" y="225044"/>
                  <a:pt x="63500" y="223139"/>
                  <a:pt x="63500" y="220472"/>
                </a:cubicBezTo>
                <a:cubicBezTo>
                  <a:pt x="63500" y="217805"/>
                  <a:pt x="65698" y="215900"/>
                  <a:pt x="68263" y="215900"/>
                </a:cubicBezTo>
                <a:close/>
                <a:moveTo>
                  <a:pt x="42672" y="215900"/>
                </a:moveTo>
                <a:cubicBezTo>
                  <a:pt x="45339" y="215900"/>
                  <a:pt x="47244" y="217805"/>
                  <a:pt x="47244" y="220472"/>
                </a:cubicBezTo>
                <a:cubicBezTo>
                  <a:pt x="47244" y="223139"/>
                  <a:pt x="45339" y="225044"/>
                  <a:pt x="42672" y="225044"/>
                </a:cubicBezTo>
                <a:cubicBezTo>
                  <a:pt x="40005" y="225044"/>
                  <a:pt x="38100" y="223139"/>
                  <a:pt x="38100" y="220472"/>
                </a:cubicBezTo>
                <a:cubicBezTo>
                  <a:pt x="38100" y="217805"/>
                  <a:pt x="40005" y="215900"/>
                  <a:pt x="42672" y="215900"/>
                </a:cubicBezTo>
                <a:close/>
                <a:moveTo>
                  <a:pt x="174259" y="192087"/>
                </a:moveTo>
                <a:cubicBezTo>
                  <a:pt x="176824" y="192087"/>
                  <a:pt x="179022" y="194285"/>
                  <a:pt x="179022" y="196850"/>
                </a:cubicBezTo>
                <a:cubicBezTo>
                  <a:pt x="179022" y="199414"/>
                  <a:pt x="176824" y="201246"/>
                  <a:pt x="174259" y="201246"/>
                </a:cubicBezTo>
                <a:cubicBezTo>
                  <a:pt x="172061" y="201246"/>
                  <a:pt x="169863" y="199414"/>
                  <a:pt x="169863" y="196850"/>
                </a:cubicBezTo>
                <a:cubicBezTo>
                  <a:pt x="169863" y="194285"/>
                  <a:pt x="172061" y="192087"/>
                  <a:pt x="174259" y="192087"/>
                </a:cubicBezTo>
                <a:close/>
                <a:moveTo>
                  <a:pt x="147638" y="192087"/>
                </a:moveTo>
                <a:cubicBezTo>
                  <a:pt x="150202" y="192087"/>
                  <a:pt x="152034" y="194285"/>
                  <a:pt x="152034" y="196850"/>
                </a:cubicBezTo>
                <a:cubicBezTo>
                  <a:pt x="152034" y="199414"/>
                  <a:pt x="150202" y="201246"/>
                  <a:pt x="147638" y="201246"/>
                </a:cubicBezTo>
                <a:cubicBezTo>
                  <a:pt x="144707" y="201246"/>
                  <a:pt x="142875" y="199414"/>
                  <a:pt x="142875" y="196850"/>
                </a:cubicBezTo>
                <a:cubicBezTo>
                  <a:pt x="142875" y="194285"/>
                  <a:pt x="144707" y="192087"/>
                  <a:pt x="147638" y="192087"/>
                </a:cubicBezTo>
                <a:close/>
                <a:moveTo>
                  <a:pt x="120651" y="192087"/>
                </a:moveTo>
                <a:cubicBezTo>
                  <a:pt x="122849" y="192087"/>
                  <a:pt x="125047" y="194285"/>
                  <a:pt x="125047" y="196850"/>
                </a:cubicBezTo>
                <a:cubicBezTo>
                  <a:pt x="125047" y="199414"/>
                  <a:pt x="122849" y="201246"/>
                  <a:pt x="120651" y="201246"/>
                </a:cubicBezTo>
                <a:cubicBezTo>
                  <a:pt x="118086" y="201246"/>
                  <a:pt x="115888" y="199414"/>
                  <a:pt x="115888" y="196850"/>
                </a:cubicBezTo>
                <a:cubicBezTo>
                  <a:pt x="115888" y="194285"/>
                  <a:pt x="118086" y="192087"/>
                  <a:pt x="120651" y="192087"/>
                </a:cubicBezTo>
                <a:close/>
                <a:moveTo>
                  <a:pt x="68263" y="192087"/>
                </a:moveTo>
                <a:cubicBezTo>
                  <a:pt x="70827" y="192087"/>
                  <a:pt x="72659" y="194285"/>
                  <a:pt x="72659" y="196850"/>
                </a:cubicBezTo>
                <a:cubicBezTo>
                  <a:pt x="72659" y="199414"/>
                  <a:pt x="70827" y="201246"/>
                  <a:pt x="68263" y="201246"/>
                </a:cubicBezTo>
                <a:cubicBezTo>
                  <a:pt x="65698" y="201246"/>
                  <a:pt x="63500" y="199414"/>
                  <a:pt x="63500" y="196850"/>
                </a:cubicBezTo>
                <a:cubicBezTo>
                  <a:pt x="63500" y="194285"/>
                  <a:pt x="65698" y="192087"/>
                  <a:pt x="68263" y="192087"/>
                </a:cubicBezTo>
                <a:close/>
                <a:moveTo>
                  <a:pt x="42672" y="192087"/>
                </a:moveTo>
                <a:cubicBezTo>
                  <a:pt x="45339" y="192087"/>
                  <a:pt x="47244" y="194285"/>
                  <a:pt x="47244" y="196850"/>
                </a:cubicBezTo>
                <a:cubicBezTo>
                  <a:pt x="47244" y="199414"/>
                  <a:pt x="45339" y="201246"/>
                  <a:pt x="42672" y="201246"/>
                </a:cubicBezTo>
                <a:cubicBezTo>
                  <a:pt x="40005" y="201246"/>
                  <a:pt x="38100" y="199414"/>
                  <a:pt x="38100" y="196850"/>
                </a:cubicBezTo>
                <a:cubicBezTo>
                  <a:pt x="38100" y="194285"/>
                  <a:pt x="40005" y="192087"/>
                  <a:pt x="42672" y="192087"/>
                </a:cubicBezTo>
                <a:close/>
                <a:moveTo>
                  <a:pt x="174259" y="166687"/>
                </a:moveTo>
                <a:cubicBezTo>
                  <a:pt x="176824" y="166687"/>
                  <a:pt x="179022" y="168804"/>
                  <a:pt x="179022" y="171273"/>
                </a:cubicBezTo>
                <a:cubicBezTo>
                  <a:pt x="179022" y="173743"/>
                  <a:pt x="176824" y="175859"/>
                  <a:pt x="174259" y="175859"/>
                </a:cubicBezTo>
                <a:cubicBezTo>
                  <a:pt x="172061" y="175859"/>
                  <a:pt x="169863" y="173743"/>
                  <a:pt x="169863" y="171273"/>
                </a:cubicBezTo>
                <a:cubicBezTo>
                  <a:pt x="169863" y="168804"/>
                  <a:pt x="172061" y="166687"/>
                  <a:pt x="174259" y="166687"/>
                </a:cubicBezTo>
                <a:close/>
                <a:moveTo>
                  <a:pt x="147638" y="166687"/>
                </a:moveTo>
                <a:cubicBezTo>
                  <a:pt x="150202" y="166687"/>
                  <a:pt x="152034" y="168804"/>
                  <a:pt x="152034" y="171273"/>
                </a:cubicBezTo>
                <a:cubicBezTo>
                  <a:pt x="152034" y="173743"/>
                  <a:pt x="150202" y="175859"/>
                  <a:pt x="147638" y="175859"/>
                </a:cubicBezTo>
                <a:cubicBezTo>
                  <a:pt x="144707" y="175859"/>
                  <a:pt x="142875" y="173743"/>
                  <a:pt x="142875" y="171273"/>
                </a:cubicBezTo>
                <a:cubicBezTo>
                  <a:pt x="142875" y="168804"/>
                  <a:pt x="144707" y="166687"/>
                  <a:pt x="147638" y="166687"/>
                </a:cubicBezTo>
                <a:close/>
                <a:moveTo>
                  <a:pt x="120651" y="166687"/>
                </a:moveTo>
                <a:cubicBezTo>
                  <a:pt x="122849" y="166687"/>
                  <a:pt x="125047" y="168804"/>
                  <a:pt x="125047" y="171273"/>
                </a:cubicBezTo>
                <a:cubicBezTo>
                  <a:pt x="125047" y="173743"/>
                  <a:pt x="122849" y="175859"/>
                  <a:pt x="120651" y="175859"/>
                </a:cubicBezTo>
                <a:cubicBezTo>
                  <a:pt x="118086" y="175859"/>
                  <a:pt x="115888" y="173743"/>
                  <a:pt x="115888" y="171273"/>
                </a:cubicBezTo>
                <a:cubicBezTo>
                  <a:pt x="115888" y="168804"/>
                  <a:pt x="118086" y="166687"/>
                  <a:pt x="120651" y="166687"/>
                </a:cubicBezTo>
                <a:close/>
                <a:moveTo>
                  <a:pt x="68263" y="166687"/>
                </a:moveTo>
                <a:cubicBezTo>
                  <a:pt x="70827" y="166687"/>
                  <a:pt x="72659" y="168804"/>
                  <a:pt x="72659" y="171273"/>
                </a:cubicBezTo>
                <a:cubicBezTo>
                  <a:pt x="72659" y="173743"/>
                  <a:pt x="70827" y="175859"/>
                  <a:pt x="68263" y="175859"/>
                </a:cubicBezTo>
                <a:cubicBezTo>
                  <a:pt x="65698" y="175859"/>
                  <a:pt x="63500" y="173743"/>
                  <a:pt x="63500" y="171273"/>
                </a:cubicBezTo>
                <a:cubicBezTo>
                  <a:pt x="63500" y="168804"/>
                  <a:pt x="65698" y="166687"/>
                  <a:pt x="68263" y="166687"/>
                </a:cubicBezTo>
                <a:close/>
                <a:moveTo>
                  <a:pt x="42672" y="166687"/>
                </a:moveTo>
                <a:cubicBezTo>
                  <a:pt x="45339" y="166687"/>
                  <a:pt x="47244" y="168804"/>
                  <a:pt x="47244" y="171273"/>
                </a:cubicBezTo>
                <a:cubicBezTo>
                  <a:pt x="47244" y="173743"/>
                  <a:pt x="45339" y="175859"/>
                  <a:pt x="42672" y="175859"/>
                </a:cubicBezTo>
                <a:cubicBezTo>
                  <a:pt x="40005" y="175859"/>
                  <a:pt x="38100" y="173743"/>
                  <a:pt x="38100" y="171273"/>
                </a:cubicBezTo>
                <a:cubicBezTo>
                  <a:pt x="38100" y="168804"/>
                  <a:pt x="40005" y="166687"/>
                  <a:pt x="42672" y="166687"/>
                </a:cubicBezTo>
                <a:close/>
                <a:moveTo>
                  <a:pt x="174259" y="144462"/>
                </a:moveTo>
                <a:cubicBezTo>
                  <a:pt x="176824" y="144462"/>
                  <a:pt x="179022" y="146660"/>
                  <a:pt x="179022" y="148858"/>
                </a:cubicBezTo>
                <a:cubicBezTo>
                  <a:pt x="179022" y="151423"/>
                  <a:pt x="176824" y="153621"/>
                  <a:pt x="174259" y="153621"/>
                </a:cubicBezTo>
                <a:cubicBezTo>
                  <a:pt x="172061" y="153621"/>
                  <a:pt x="169863" y="151423"/>
                  <a:pt x="169863" y="148858"/>
                </a:cubicBezTo>
                <a:cubicBezTo>
                  <a:pt x="169863" y="146660"/>
                  <a:pt x="172061" y="144462"/>
                  <a:pt x="174259" y="144462"/>
                </a:cubicBezTo>
                <a:close/>
                <a:moveTo>
                  <a:pt x="147638" y="144462"/>
                </a:moveTo>
                <a:cubicBezTo>
                  <a:pt x="150202" y="144462"/>
                  <a:pt x="152034" y="146660"/>
                  <a:pt x="152034" y="148858"/>
                </a:cubicBezTo>
                <a:cubicBezTo>
                  <a:pt x="152034" y="151423"/>
                  <a:pt x="150202" y="153621"/>
                  <a:pt x="147638" y="153621"/>
                </a:cubicBezTo>
                <a:cubicBezTo>
                  <a:pt x="144707" y="153621"/>
                  <a:pt x="142875" y="151423"/>
                  <a:pt x="142875" y="148858"/>
                </a:cubicBezTo>
                <a:cubicBezTo>
                  <a:pt x="142875" y="146660"/>
                  <a:pt x="144707" y="144462"/>
                  <a:pt x="147638" y="144462"/>
                </a:cubicBezTo>
                <a:close/>
                <a:moveTo>
                  <a:pt x="120651" y="144462"/>
                </a:moveTo>
                <a:cubicBezTo>
                  <a:pt x="122849" y="144462"/>
                  <a:pt x="125047" y="146660"/>
                  <a:pt x="125047" y="148858"/>
                </a:cubicBezTo>
                <a:cubicBezTo>
                  <a:pt x="125047" y="151423"/>
                  <a:pt x="122849" y="153621"/>
                  <a:pt x="120651" y="153621"/>
                </a:cubicBezTo>
                <a:cubicBezTo>
                  <a:pt x="118086" y="153621"/>
                  <a:pt x="115888" y="151423"/>
                  <a:pt x="115888" y="148858"/>
                </a:cubicBezTo>
                <a:cubicBezTo>
                  <a:pt x="115888" y="146660"/>
                  <a:pt x="118086" y="144462"/>
                  <a:pt x="120651" y="144462"/>
                </a:cubicBezTo>
                <a:close/>
                <a:moveTo>
                  <a:pt x="68263" y="144462"/>
                </a:moveTo>
                <a:cubicBezTo>
                  <a:pt x="70827" y="144462"/>
                  <a:pt x="72659" y="146660"/>
                  <a:pt x="72659" y="148858"/>
                </a:cubicBezTo>
                <a:cubicBezTo>
                  <a:pt x="72659" y="151423"/>
                  <a:pt x="70827" y="153621"/>
                  <a:pt x="68263" y="153621"/>
                </a:cubicBezTo>
                <a:cubicBezTo>
                  <a:pt x="65698" y="153621"/>
                  <a:pt x="63500" y="151423"/>
                  <a:pt x="63500" y="148858"/>
                </a:cubicBezTo>
                <a:cubicBezTo>
                  <a:pt x="63500" y="146660"/>
                  <a:pt x="65698" y="144462"/>
                  <a:pt x="68263" y="144462"/>
                </a:cubicBezTo>
                <a:close/>
                <a:moveTo>
                  <a:pt x="42672" y="144462"/>
                </a:moveTo>
                <a:cubicBezTo>
                  <a:pt x="45339" y="144462"/>
                  <a:pt x="47244" y="146660"/>
                  <a:pt x="47244" y="148858"/>
                </a:cubicBezTo>
                <a:cubicBezTo>
                  <a:pt x="47244" y="151423"/>
                  <a:pt x="45339" y="153621"/>
                  <a:pt x="42672" y="153621"/>
                </a:cubicBezTo>
                <a:cubicBezTo>
                  <a:pt x="40005" y="153621"/>
                  <a:pt x="38100" y="151423"/>
                  <a:pt x="38100" y="148858"/>
                </a:cubicBezTo>
                <a:cubicBezTo>
                  <a:pt x="38100" y="146660"/>
                  <a:pt x="40005" y="144462"/>
                  <a:pt x="42672" y="144462"/>
                </a:cubicBezTo>
                <a:close/>
                <a:moveTo>
                  <a:pt x="174259" y="120650"/>
                </a:moveTo>
                <a:cubicBezTo>
                  <a:pt x="176824" y="120650"/>
                  <a:pt x="179022" y="122555"/>
                  <a:pt x="179022" y="125222"/>
                </a:cubicBezTo>
                <a:cubicBezTo>
                  <a:pt x="179022" y="127889"/>
                  <a:pt x="176824" y="129794"/>
                  <a:pt x="174259" y="129794"/>
                </a:cubicBezTo>
                <a:cubicBezTo>
                  <a:pt x="172061" y="129794"/>
                  <a:pt x="169863" y="127889"/>
                  <a:pt x="169863" y="125222"/>
                </a:cubicBezTo>
                <a:cubicBezTo>
                  <a:pt x="169863" y="122555"/>
                  <a:pt x="172061" y="120650"/>
                  <a:pt x="174259" y="120650"/>
                </a:cubicBezTo>
                <a:close/>
                <a:moveTo>
                  <a:pt x="147638" y="120650"/>
                </a:moveTo>
                <a:cubicBezTo>
                  <a:pt x="150202" y="120650"/>
                  <a:pt x="152034" y="122555"/>
                  <a:pt x="152034" y="125222"/>
                </a:cubicBezTo>
                <a:cubicBezTo>
                  <a:pt x="152034" y="127889"/>
                  <a:pt x="150202" y="129794"/>
                  <a:pt x="147638" y="129794"/>
                </a:cubicBezTo>
                <a:cubicBezTo>
                  <a:pt x="144707" y="129794"/>
                  <a:pt x="142875" y="127889"/>
                  <a:pt x="142875" y="125222"/>
                </a:cubicBezTo>
                <a:cubicBezTo>
                  <a:pt x="142875" y="122555"/>
                  <a:pt x="144707" y="120650"/>
                  <a:pt x="147638" y="120650"/>
                </a:cubicBezTo>
                <a:close/>
                <a:moveTo>
                  <a:pt x="120651" y="120650"/>
                </a:moveTo>
                <a:cubicBezTo>
                  <a:pt x="122849" y="120650"/>
                  <a:pt x="125047" y="122555"/>
                  <a:pt x="125047" y="125222"/>
                </a:cubicBezTo>
                <a:cubicBezTo>
                  <a:pt x="125047" y="127889"/>
                  <a:pt x="122849" y="129794"/>
                  <a:pt x="120651" y="129794"/>
                </a:cubicBezTo>
                <a:cubicBezTo>
                  <a:pt x="118086" y="129794"/>
                  <a:pt x="115888" y="127889"/>
                  <a:pt x="115888" y="125222"/>
                </a:cubicBezTo>
                <a:cubicBezTo>
                  <a:pt x="115888" y="122555"/>
                  <a:pt x="118086" y="120650"/>
                  <a:pt x="120651" y="120650"/>
                </a:cubicBezTo>
                <a:close/>
                <a:moveTo>
                  <a:pt x="68263" y="120650"/>
                </a:moveTo>
                <a:cubicBezTo>
                  <a:pt x="70827" y="120650"/>
                  <a:pt x="72659" y="122555"/>
                  <a:pt x="72659" y="125222"/>
                </a:cubicBezTo>
                <a:cubicBezTo>
                  <a:pt x="72659" y="127889"/>
                  <a:pt x="70827" y="129794"/>
                  <a:pt x="68263" y="129794"/>
                </a:cubicBezTo>
                <a:cubicBezTo>
                  <a:pt x="65698" y="129794"/>
                  <a:pt x="63500" y="127889"/>
                  <a:pt x="63500" y="125222"/>
                </a:cubicBezTo>
                <a:cubicBezTo>
                  <a:pt x="63500" y="122555"/>
                  <a:pt x="65698" y="120650"/>
                  <a:pt x="68263" y="120650"/>
                </a:cubicBezTo>
                <a:close/>
                <a:moveTo>
                  <a:pt x="42672" y="120650"/>
                </a:moveTo>
                <a:cubicBezTo>
                  <a:pt x="45339" y="120650"/>
                  <a:pt x="47244" y="122555"/>
                  <a:pt x="47244" y="125222"/>
                </a:cubicBezTo>
                <a:cubicBezTo>
                  <a:pt x="47244" y="127889"/>
                  <a:pt x="45339" y="129794"/>
                  <a:pt x="42672" y="129794"/>
                </a:cubicBezTo>
                <a:cubicBezTo>
                  <a:pt x="40005" y="129794"/>
                  <a:pt x="38100" y="127889"/>
                  <a:pt x="38100" y="125222"/>
                </a:cubicBezTo>
                <a:cubicBezTo>
                  <a:pt x="38100" y="122555"/>
                  <a:pt x="40005" y="120650"/>
                  <a:pt x="42672" y="120650"/>
                </a:cubicBezTo>
                <a:close/>
                <a:moveTo>
                  <a:pt x="206795" y="117088"/>
                </a:moveTo>
                <a:lnTo>
                  <a:pt x="206795" y="137983"/>
                </a:lnTo>
                <a:lnTo>
                  <a:pt x="252910" y="137983"/>
                </a:lnTo>
                <a:cubicBezTo>
                  <a:pt x="255432" y="137983"/>
                  <a:pt x="257593" y="139785"/>
                  <a:pt x="257593" y="142307"/>
                </a:cubicBezTo>
                <a:cubicBezTo>
                  <a:pt x="257593" y="144828"/>
                  <a:pt x="255432" y="146630"/>
                  <a:pt x="252910" y="146630"/>
                </a:cubicBezTo>
                <a:lnTo>
                  <a:pt x="206795" y="146630"/>
                </a:lnTo>
                <a:lnTo>
                  <a:pt x="206795" y="167525"/>
                </a:lnTo>
                <a:lnTo>
                  <a:pt x="252910" y="167525"/>
                </a:lnTo>
                <a:cubicBezTo>
                  <a:pt x="255432" y="167525"/>
                  <a:pt x="257593" y="169687"/>
                  <a:pt x="257593" y="172209"/>
                </a:cubicBezTo>
                <a:cubicBezTo>
                  <a:pt x="257593" y="174731"/>
                  <a:pt x="255432" y="176892"/>
                  <a:pt x="252910" y="176892"/>
                </a:cubicBezTo>
                <a:lnTo>
                  <a:pt x="206795" y="176892"/>
                </a:lnTo>
                <a:lnTo>
                  <a:pt x="206795" y="197788"/>
                </a:lnTo>
                <a:lnTo>
                  <a:pt x="252910" y="197788"/>
                </a:lnTo>
                <a:cubicBezTo>
                  <a:pt x="255432" y="197788"/>
                  <a:pt x="257593" y="199589"/>
                  <a:pt x="257593" y="202111"/>
                </a:cubicBezTo>
                <a:cubicBezTo>
                  <a:pt x="257593" y="204633"/>
                  <a:pt x="255432" y="206435"/>
                  <a:pt x="252910" y="206435"/>
                </a:cubicBezTo>
                <a:lnTo>
                  <a:pt x="206795" y="206435"/>
                </a:lnTo>
                <a:lnTo>
                  <a:pt x="206795" y="227690"/>
                </a:lnTo>
                <a:lnTo>
                  <a:pt x="252910" y="227690"/>
                </a:lnTo>
                <a:cubicBezTo>
                  <a:pt x="255432" y="227690"/>
                  <a:pt x="257593" y="229852"/>
                  <a:pt x="257593" y="232014"/>
                </a:cubicBezTo>
                <a:cubicBezTo>
                  <a:pt x="257593" y="234536"/>
                  <a:pt x="255432" y="236697"/>
                  <a:pt x="252910" y="236697"/>
                </a:cubicBezTo>
                <a:lnTo>
                  <a:pt x="206795" y="236697"/>
                </a:lnTo>
                <a:lnTo>
                  <a:pt x="206795" y="257593"/>
                </a:lnTo>
                <a:lnTo>
                  <a:pt x="252910" y="257593"/>
                </a:lnTo>
                <a:cubicBezTo>
                  <a:pt x="255432" y="257593"/>
                  <a:pt x="257593" y="259754"/>
                  <a:pt x="257593" y="261916"/>
                </a:cubicBezTo>
                <a:cubicBezTo>
                  <a:pt x="257593" y="264438"/>
                  <a:pt x="255432" y="266600"/>
                  <a:pt x="252910" y="266600"/>
                </a:cubicBezTo>
                <a:lnTo>
                  <a:pt x="206795" y="266600"/>
                </a:lnTo>
                <a:lnTo>
                  <a:pt x="206795" y="287495"/>
                </a:lnTo>
                <a:lnTo>
                  <a:pt x="275607" y="287495"/>
                </a:lnTo>
                <a:lnTo>
                  <a:pt x="275607" y="117088"/>
                </a:lnTo>
                <a:lnTo>
                  <a:pt x="206795" y="117088"/>
                </a:lnTo>
                <a:close/>
                <a:moveTo>
                  <a:pt x="174259" y="95250"/>
                </a:moveTo>
                <a:cubicBezTo>
                  <a:pt x="176824" y="95250"/>
                  <a:pt x="179022" y="97448"/>
                  <a:pt x="179022" y="100013"/>
                </a:cubicBezTo>
                <a:cubicBezTo>
                  <a:pt x="179022" y="102577"/>
                  <a:pt x="176824" y="104409"/>
                  <a:pt x="174259" y="104409"/>
                </a:cubicBezTo>
                <a:cubicBezTo>
                  <a:pt x="172061" y="104409"/>
                  <a:pt x="169863" y="102577"/>
                  <a:pt x="169863" y="100013"/>
                </a:cubicBezTo>
                <a:cubicBezTo>
                  <a:pt x="169863" y="97448"/>
                  <a:pt x="172061" y="95250"/>
                  <a:pt x="174259" y="95250"/>
                </a:cubicBezTo>
                <a:close/>
                <a:moveTo>
                  <a:pt x="147638" y="95250"/>
                </a:moveTo>
                <a:cubicBezTo>
                  <a:pt x="150202" y="95250"/>
                  <a:pt x="152034" y="97448"/>
                  <a:pt x="152034" y="100013"/>
                </a:cubicBezTo>
                <a:cubicBezTo>
                  <a:pt x="152034" y="102577"/>
                  <a:pt x="150202" y="104409"/>
                  <a:pt x="147638" y="104409"/>
                </a:cubicBezTo>
                <a:cubicBezTo>
                  <a:pt x="144707" y="104409"/>
                  <a:pt x="142875" y="102577"/>
                  <a:pt x="142875" y="100013"/>
                </a:cubicBezTo>
                <a:cubicBezTo>
                  <a:pt x="142875" y="97448"/>
                  <a:pt x="144707" y="95250"/>
                  <a:pt x="147638" y="95250"/>
                </a:cubicBezTo>
                <a:close/>
                <a:moveTo>
                  <a:pt x="120651" y="95250"/>
                </a:moveTo>
                <a:cubicBezTo>
                  <a:pt x="122849" y="95250"/>
                  <a:pt x="125047" y="97448"/>
                  <a:pt x="125047" y="100013"/>
                </a:cubicBezTo>
                <a:cubicBezTo>
                  <a:pt x="125047" y="102577"/>
                  <a:pt x="122849" y="104409"/>
                  <a:pt x="120651" y="104409"/>
                </a:cubicBezTo>
                <a:cubicBezTo>
                  <a:pt x="118086" y="104409"/>
                  <a:pt x="115888" y="102577"/>
                  <a:pt x="115888" y="100013"/>
                </a:cubicBezTo>
                <a:cubicBezTo>
                  <a:pt x="115888" y="97448"/>
                  <a:pt x="118086" y="95250"/>
                  <a:pt x="120651" y="95250"/>
                </a:cubicBezTo>
                <a:close/>
                <a:moveTo>
                  <a:pt x="68263" y="95250"/>
                </a:moveTo>
                <a:cubicBezTo>
                  <a:pt x="70827" y="95250"/>
                  <a:pt x="72659" y="97448"/>
                  <a:pt x="72659" y="100013"/>
                </a:cubicBezTo>
                <a:cubicBezTo>
                  <a:pt x="72659" y="102577"/>
                  <a:pt x="70827" y="104409"/>
                  <a:pt x="68263" y="104409"/>
                </a:cubicBezTo>
                <a:cubicBezTo>
                  <a:pt x="65698" y="104409"/>
                  <a:pt x="63500" y="102577"/>
                  <a:pt x="63500" y="100013"/>
                </a:cubicBezTo>
                <a:cubicBezTo>
                  <a:pt x="63500" y="97448"/>
                  <a:pt x="65698" y="95250"/>
                  <a:pt x="68263" y="95250"/>
                </a:cubicBezTo>
                <a:close/>
                <a:moveTo>
                  <a:pt x="42672" y="95250"/>
                </a:moveTo>
                <a:cubicBezTo>
                  <a:pt x="45339" y="95250"/>
                  <a:pt x="47244" y="97448"/>
                  <a:pt x="47244" y="100013"/>
                </a:cubicBezTo>
                <a:cubicBezTo>
                  <a:pt x="47244" y="102577"/>
                  <a:pt x="45339" y="104409"/>
                  <a:pt x="42672" y="104409"/>
                </a:cubicBezTo>
                <a:cubicBezTo>
                  <a:pt x="40005" y="104409"/>
                  <a:pt x="38100" y="102577"/>
                  <a:pt x="38100" y="100013"/>
                </a:cubicBezTo>
                <a:cubicBezTo>
                  <a:pt x="38100" y="97448"/>
                  <a:pt x="40005" y="95250"/>
                  <a:pt x="42672" y="95250"/>
                </a:cubicBezTo>
                <a:close/>
                <a:moveTo>
                  <a:pt x="20896" y="81061"/>
                </a:moveTo>
                <a:lnTo>
                  <a:pt x="20896" y="287495"/>
                </a:lnTo>
                <a:lnTo>
                  <a:pt x="89708" y="287495"/>
                </a:lnTo>
                <a:lnTo>
                  <a:pt x="89708" y="81061"/>
                </a:lnTo>
                <a:lnTo>
                  <a:pt x="20896" y="81061"/>
                </a:lnTo>
                <a:close/>
                <a:moveTo>
                  <a:pt x="174259" y="71437"/>
                </a:moveTo>
                <a:cubicBezTo>
                  <a:pt x="176824" y="71437"/>
                  <a:pt x="179022" y="73269"/>
                  <a:pt x="179022" y="75833"/>
                </a:cubicBezTo>
                <a:cubicBezTo>
                  <a:pt x="179022" y="78398"/>
                  <a:pt x="176824" y="80596"/>
                  <a:pt x="174259" y="80596"/>
                </a:cubicBezTo>
                <a:cubicBezTo>
                  <a:pt x="172061" y="80596"/>
                  <a:pt x="169863" y="78398"/>
                  <a:pt x="169863" y="75833"/>
                </a:cubicBezTo>
                <a:cubicBezTo>
                  <a:pt x="169863" y="73269"/>
                  <a:pt x="172061" y="71437"/>
                  <a:pt x="174259" y="71437"/>
                </a:cubicBezTo>
                <a:close/>
                <a:moveTo>
                  <a:pt x="147638" y="71437"/>
                </a:moveTo>
                <a:cubicBezTo>
                  <a:pt x="150202" y="71437"/>
                  <a:pt x="152034" y="73269"/>
                  <a:pt x="152034" y="75833"/>
                </a:cubicBezTo>
                <a:cubicBezTo>
                  <a:pt x="152034" y="78398"/>
                  <a:pt x="150202" y="80596"/>
                  <a:pt x="147638" y="80596"/>
                </a:cubicBezTo>
                <a:cubicBezTo>
                  <a:pt x="144707" y="80596"/>
                  <a:pt x="142875" y="78398"/>
                  <a:pt x="142875" y="75833"/>
                </a:cubicBezTo>
                <a:cubicBezTo>
                  <a:pt x="142875" y="73269"/>
                  <a:pt x="144707" y="71437"/>
                  <a:pt x="147638" y="71437"/>
                </a:cubicBezTo>
                <a:close/>
                <a:moveTo>
                  <a:pt x="120651" y="71437"/>
                </a:moveTo>
                <a:cubicBezTo>
                  <a:pt x="122849" y="71437"/>
                  <a:pt x="125047" y="73269"/>
                  <a:pt x="125047" y="75833"/>
                </a:cubicBezTo>
                <a:cubicBezTo>
                  <a:pt x="125047" y="78398"/>
                  <a:pt x="122849" y="80596"/>
                  <a:pt x="120651" y="80596"/>
                </a:cubicBezTo>
                <a:cubicBezTo>
                  <a:pt x="118086" y="80596"/>
                  <a:pt x="115888" y="78398"/>
                  <a:pt x="115888" y="75833"/>
                </a:cubicBezTo>
                <a:cubicBezTo>
                  <a:pt x="115888" y="73269"/>
                  <a:pt x="118086" y="71437"/>
                  <a:pt x="120651" y="71437"/>
                </a:cubicBezTo>
                <a:close/>
                <a:moveTo>
                  <a:pt x="174259" y="47625"/>
                </a:moveTo>
                <a:cubicBezTo>
                  <a:pt x="176824" y="47625"/>
                  <a:pt x="179022" y="49823"/>
                  <a:pt x="179022" y="52388"/>
                </a:cubicBezTo>
                <a:cubicBezTo>
                  <a:pt x="179022" y="54586"/>
                  <a:pt x="176824" y="56784"/>
                  <a:pt x="174259" y="56784"/>
                </a:cubicBezTo>
                <a:cubicBezTo>
                  <a:pt x="172061" y="56784"/>
                  <a:pt x="169863" y="54586"/>
                  <a:pt x="169863" y="52388"/>
                </a:cubicBezTo>
                <a:cubicBezTo>
                  <a:pt x="169863" y="49823"/>
                  <a:pt x="172061" y="47625"/>
                  <a:pt x="174259" y="47625"/>
                </a:cubicBezTo>
                <a:close/>
                <a:moveTo>
                  <a:pt x="147638" y="47625"/>
                </a:moveTo>
                <a:cubicBezTo>
                  <a:pt x="150202" y="47625"/>
                  <a:pt x="152034" y="49823"/>
                  <a:pt x="152034" y="52388"/>
                </a:cubicBezTo>
                <a:cubicBezTo>
                  <a:pt x="152034" y="54586"/>
                  <a:pt x="150202" y="56784"/>
                  <a:pt x="147638" y="56784"/>
                </a:cubicBezTo>
                <a:cubicBezTo>
                  <a:pt x="144707" y="56784"/>
                  <a:pt x="142875" y="54586"/>
                  <a:pt x="142875" y="52388"/>
                </a:cubicBezTo>
                <a:cubicBezTo>
                  <a:pt x="142875" y="49823"/>
                  <a:pt x="144707" y="47625"/>
                  <a:pt x="147638" y="47625"/>
                </a:cubicBezTo>
                <a:close/>
                <a:moveTo>
                  <a:pt x="120651" y="47625"/>
                </a:moveTo>
                <a:cubicBezTo>
                  <a:pt x="122849" y="47625"/>
                  <a:pt x="125047" y="49823"/>
                  <a:pt x="125047" y="52388"/>
                </a:cubicBezTo>
                <a:cubicBezTo>
                  <a:pt x="125047" y="54586"/>
                  <a:pt x="122849" y="56784"/>
                  <a:pt x="120651" y="56784"/>
                </a:cubicBezTo>
                <a:cubicBezTo>
                  <a:pt x="118086" y="56784"/>
                  <a:pt x="115888" y="54586"/>
                  <a:pt x="115888" y="52388"/>
                </a:cubicBezTo>
                <a:cubicBezTo>
                  <a:pt x="115888" y="49823"/>
                  <a:pt x="118086" y="47625"/>
                  <a:pt x="120651" y="47625"/>
                </a:cubicBezTo>
                <a:close/>
                <a:moveTo>
                  <a:pt x="174259" y="23812"/>
                </a:moveTo>
                <a:cubicBezTo>
                  <a:pt x="176824" y="23812"/>
                  <a:pt x="179022" y="25929"/>
                  <a:pt x="179022" y="28398"/>
                </a:cubicBezTo>
                <a:cubicBezTo>
                  <a:pt x="179022" y="30868"/>
                  <a:pt x="176824" y="32984"/>
                  <a:pt x="174259" y="32984"/>
                </a:cubicBezTo>
                <a:cubicBezTo>
                  <a:pt x="172061" y="32984"/>
                  <a:pt x="169863" y="30868"/>
                  <a:pt x="169863" y="28398"/>
                </a:cubicBezTo>
                <a:cubicBezTo>
                  <a:pt x="169863" y="25929"/>
                  <a:pt x="172061" y="23812"/>
                  <a:pt x="174259" y="23812"/>
                </a:cubicBezTo>
                <a:close/>
                <a:moveTo>
                  <a:pt x="147638" y="23812"/>
                </a:moveTo>
                <a:cubicBezTo>
                  <a:pt x="150202" y="23812"/>
                  <a:pt x="152034" y="25929"/>
                  <a:pt x="152034" y="28398"/>
                </a:cubicBezTo>
                <a:cubicBezTo>
                  <a:pt x="152034" y="30868"/>
                  <a:pt x="150202" y="32984"/>
                  <a:pt x="147638" y="32984"/>
                </a:cubicBezTo>
                <a:cubicBezTo>
                  <a:pt x="144707" y="32984"/>
                  <a:pt x="142875" y="30868"/>
                  <a:pt x="142875" y="28398"/>
                </a:cubicBezTo>
                <a:cubicBezTo>
                  <a:pt x="142875" y="25929"/>
                  <a:pt x="144707" y="23812"/>
                  <a:pt x="147638" y="23812"/>
                </a:cubicBezTo>
                <a:close/>
                <a:moveTo>
                  <a:pt x="120651" y="23812"/>
                </a:moveTo>
                <a:cubicBezTo>
                  <a:pt x="122849" y="23812"/>
                  <a:pt x="125047" y="25929"/>
                  <a:pt x="125047" y="28398"/>
                </a:cubicBezTo>
                <a:cubicBezTo>
                  <a:pt x="125047" y="30868"/>
                  <a:pt x="122849" y="32984"/>
                  <a:pt x="120651" y="32984"/>
                </a:cubicBezTo>
                <a:cubicBezTo>
                  <a:pt x="118086" y="32984"/>
                  <a:pt x="115888" y="30868"/>
                  <a:pt x="115888" y="28398"/>
                </a:cubicBezTo>
                <a:cubicBezTo>
                  <a:pt x="115888" y="25929"/>
                  <a:pt x="118086" y="23812"/>
                  <a:pt x="120651" y="23812"/>
                </a:cubicBezTo>
                <a:close/>
                <a:moveTo>
                  <a:pt x="99075" y="9007"/>
                </a:moveTo>
                <a:lnTo>
                  <a:pt x="99075" y="287495"/>
                </a:lnTo>
                <a:lnTo>
                  <a:pt x="197789" y="287495"/>
                </a:lnTo>
                <a:lnTo>
                  <a:pt x="197789" y="9007"/>
                </a:lnTo>
                <a:lnTo>
                  <a:pt x="99075" y="9007"/>
                </a:lnTo>
                <a:close/>
                <a:moveTo>
                  <a:pt x="82502" y="0"/>
                </a:moveTo>
                <a:lnTo>
                  <a:pt x="214001" y="0"/>
                </a:lnTo>
                <a:cubicBezTo>
                  <a:pt x="216523" y="0"/>
                  <a:pt x="218684" y="1801"/>
                  <a:pt x="218684" y="4684"/>
                </a:cubicBezTo>
                <a:cubicBezTo>
                  <a:pt x="218684" y="7205"/>
                  <a:pt x="216523" y="9007"/>
                  <a:pt x="214001" y="9007"/>
                </a:cubicBezTo>
                <a:lnTo>
                  <a:pt x="206795" y="9007"/>
                </a:lnTo>
                <a:lnTo>
                  <a:pt x="206795" y="107721"/>
                </a:lnTo>
                <a:lnTo>
                  <a:pt x="291819" y="107721"/>
                </a:lnTo>
                <a:cubicBezTo>
                  <a:pt x="294341" y="107721"/>
                  <a:pt x="296503" y="109882"/>
                  <a:pt x="296503" y="112404"/>
                </a:cubicBezTo>
                <a:cubicBezTo>
                  <a:pt x="296503" y="114926"/>
                  <a:pt x="294341" y="117088"/>
                  <a:pt x="291819" y="117088"/>
                </a:cubicBezTo>
                <a:lnTo>
                  <a:pt x="284614" y="117088"/>
                </a:lnTo>
                <a:lnTo>
                  <a:pt x="284614" y="287495"/>
                </a:lnTo>
                <a:lnTo>
                  <a:pt x="291819" y="287495"/>
                </a:lnTo>
                <a:cubicBezTo>
                  <a:pt x="294341" y="287495"/>
                  <a:pt x="296503" y="289657"/>
                  <a:pt x="296503" y="292179"/>
                </a:cubicBezTo>
                <a:cubicBezTo>
                  <a:pt x="296503" y="294340"/>
                  <a:pt x="294341" y="296502"/>
                  <a:pt x="291819" y="296502"/>
                </a:cubicBezTo>
                <a:lnTo>
                  <a:pt x="4684" y="296502"/>
                </a:lnTo>
                <a:cubicBezTo>
                  <a:pt x="2162" y="296502"/>
                  <a:pt x="0" y="294340"/>
                  <a:pt x="0" y="292179"/>
                </a:cubicBezTo>
                <a:cubicBezTo>
                  <a:pt x="0" y="289657"/>
                  <a:pt x="2162" y="287495"/>
                  <a:pt x="4684" y="287495"/>
                </a:cubicBezTo>
                <a:lnTo>
                  <a:pt x="11889" y="287495"/>
                </a:lnTo>
                <a:lnTo>
                  <a:pt x="11889" y="81061"/>
                </a:lnTo>
                <a:lnTo>
                  <a:pt x="4684" y="81061"/>
                </a:lnTo>
                <a:cubicBezTo>
                  <a:pt x="2162" y="81061"/>
                  <a:pt x="0" y="78899"/>
                  <a:pt x="0" y="76377"/>
                </a:cubicBezTo>
                <a:cubicBezTo>
                  <a:pt x="0" y="73855"/>
                  <a:pt x="2162" y="72054"/>
                  <a:pt x="4684" y="72054"/>
                </a:cubicBezTo>
                <a:lnTo>
                  <a:pt x="89708" y="72054"/>
                </a:lnTo>
                <a:lnTo>
                  <a:pt x="89708" y="9007"/>
                </a:lnTo>
                <a:lnTo>
                  <a:pt x="82502" y="9007"/>
                </a:lnTo>
                <a:cubicBezTo>
                  <a:pt x="79980" y="9007"/>
                  <a:pt x="78179" y="7205"/>
                  <a:pt x="78179" y="4684"/>
                </a:cubicBezTo>
                <a:cubicBezTo>
                  <a:pt x="78179" y="1801"/>
                  <a:pt x="79980" y="0"/>
                  <a:pt x="82502" y="0"/>
                </a:cubicBezTo>
                <a:close/>
              </a:path>
            </a:pathLst>
          </a:custGeom>
          <a:solidFill>
            <a:srgbClr val="00A6CA"/>
          </a:solidFill>
          <a:ln w="12700" cap="flat" cmpd="sng" algn="ctr">
            <a:noFill/>
            <a:prstDash val="solid"/>
            <a:miter lim="800000"/>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272727"/>
              </a:solidFill>
              <a:effectLst/>
              <a:uLnTx/>
              <a:uFillTx/>
              <a:latin typeface="Lato Light" panose="020F0502020204030203" pitchFamily="34" charset="0"/>
            </a:endParaRPr>
          </a:p>
        </p:txBody>
      </p:sp>
      <p:grpSp>
        <p:nvGrpSpPr>
          <p:cNvPr id="243" name="Group 242"/>
          <p:cNvGrpSpPr>
            <a:grpSpLocks noChangeAspect="1"/>
          </p:cNvGrpSpPr>
          <p:nvPr/>
        </p:nvGrpSpPr>
        <p:grpSpPr>
          <a:xfrm>
            <a:off x="8869766" y="3095032"/>
            <a:ext cx="1607371" cy="1617716"/>
            <a:chOff x="4697235" y="3103745"/>
            <a:chExt cx="2744700" cy="2762365"/>
          </a:xfrm>
        </p:grpSpPr>
        <p:sp>
          <p:nvSpPr>
            <p:cNvPr id="244" name="Freeform 58"/>
            <p:cNvSpPr>
              <a:spLocks noChangeAspect="1" noEditPoints="1"/>
            </p:cNvSpPr>
            <p:nvPr/>
          </p:nvSpPr>
          <p:spPr bwMode="auto">
            <a:xfrm>
              <a:off x="4937233" y="3375383"/>
              <a:ext cx="2249391" cy="2252091"/>
            </a:xfrm>
            <a:custGeom>
              <a:avLst/>
              <a:gdLst>
                <a:gd name="T0" fmla="*/ 756 w 772"/>
                <a:gd name="T1" fmla="*/ 386 h 773"/>
                <a:gd name="T2" fmla="*/ 755 w 772"/>
                <a:gd name="T3" fmla="*/ 362 h 773"/>
                <a:gd name="T4" fmla="*/ 749 w 772"/>
                <a:gd name="T5" fmla="*/ 316 h 773"/>
                <a:gd name="T6" fmla="*/ 737 w 772"/>
                <a:gd name="T7" fmla="*/ 270 h 773"/>
                <a:gd name="T8" fmla="*/ 719 w 772"/>
                <a:gd name="T9" fmla="*/ 227 h 773"/>
                <a:gd name="T10" fmla="*/ 710 w 772"/>
                <a:gd name="T11" fmla="*/ 177 h 773"/>
                <a:gd name="T12" fmla="*/ 681 w 772"/>
                <a:gd name="T13" fmla="*/ 138 h 773"/>
                <a:gd name="T14" fmla="*/ 647 w 772"/>
                <a:gd name="T15" fmla="*/ 102 h 773"/>
                <a:gd name="T16" fmla="*/ 609 w 772"/>
                <a:gd name="T17" fmla="*/ 71 h 773"/>
                <a:gd name="T18" fmla="*/ 567 w 772"/>
                <a:gd name="T19" fmla="*/ 46 h 773"/>
                <a:gd name="T20" fmla="*/ 523 w 772"/>
                <a:gd name="T21" fmla="*/ 25 h 773"/>
                <a:gd name="T22" fmla="*/ 476 w 772"/>
                <a:gd name="T23" fmla="*/ 11 h 773"/>
                <a:gd name="T24" fmla="*/ 428 w 772"/>
                <a:gd name="T25" fmla="*/ 3 h 773"/>
                <a:gd name="T26" fmla="*/ 402 w 772"/>
                <a:gd name="T27" fmla="*/ 17 h 773"/>
                <a:gd name="T28" fmla="*/ 332 w 772"/>
                <a:gd name="T29" fmla="*/ 20 h 773"/>
                <a:gd name="T30" fmla="*/ 286 w 772"/>
                <a:gd name="T31" fmla="*/ 30 h 773"/>
                <a:gd name="T32" fmla="*/ 242 w 772"/>
                <a:gd name="T33" fmla="*/ 45 h 773"/>
                <a:gd name="T34" fmla="*/ 200 w 772"/>
                <a:gd name="T35" fmla="*/ 66 h 773"/>
                <a:gd name="T36" fmla="*/ 161 w 772"/>
                <a:gd name="T37" fmla="*/ 92 h 773"/>
                <a:gd name="T38" fmla="*/ 161 w 772"/>
                <a:gd name="T39" fmla="*/ 92 h 773"/>
                <a:gd name="T40" fmla="*/ 126 w 772"/>
                <a:gd name="T41" fmla="*/ 123 h 773"/>
                <a:gd name="T42" fmla="*/ 82 w 772"/>
                <a:gd name="T43" fmla="*/ 148 h 773"/>
                <a:gd name="T44" fmla="*/ 54 w 772"/>
                <a:gd name="T45" fmla="*/ 188 h 773"/>
                <a:gd name="T46" fmla="*/ 31 w 772"/>
                <a:gd name="T47" fmla="*/ 232 h 773"/>
                <a:gd name="T48" fmla="*/ 15 w 772"/>
                <a:gd name="T49" fmla="*/ 278 h 773"/>
                <a:gd name="T50" fmla="*/ 4 w 772"/>
                <a:gd name="T51" fmla="*/ 326 h 773"/>
                <a:gd name="T52" fmla="*/ 0 w 772"/>
                <a:gd name="T53" fmla="*/ 375 h 773"/>
                <a:gd name="T54" fmla="*/ 1 w 772"/>
                <a:gd name="T55" fmla="*/ 424 h 773"/>
                <a:gd name="T56" fmla="*/ 9 w 772"/>
                <a:gd name="T57" fmla="*/ 472 h 773"/>
                <a:gd name="T58" fmla="*/ 23 w 772"/>
                <a:gd name="T59" fmla="*/ 519 h 773"/>
                <a:gd name="T60" fmla="*/ 32 w 772"/>
                <a:gd name="T61" fmla="*/ 542 h 773"/>
                <a:gd name="T62" fmla="*/ 54 w 772"/>
                <a:gd name="T63" fmla="*/ 585 h 773"/>
                <a:gd name="T64" fmla="*/ 82 w 772"/>
                <a:gd name="T65" fmla="*/ 625 h 773"/>
                <a:gd name="T66" fmla="*/ 115 w 772"/>
                <a:gd name="T67" fmla="*/ 662 h 773"/>
                <a:gd name="T68" fmla="*/ 152 w 772"/>
                <a:gd name="T69" fmla="*/ 694 h 773"/>
                <a:gd name="T70" fmla="*/ 193 w 772"/>
                <a:gd name="T71" fmla="*/ 721 h 773"/>
                <a:gd name="T72" fmla="*/ 236 w 772"/>
                <a:gd name="T73" fmla="*/ 743 h 773"/>
                <a:gd name="T74" fmla="*/ 287 w 772"/>
                <a:gd name="T75" fmla="*/ 743 h 773"/>
                <a:gd name="T76" fmla="*/ 356 w 772"/>
                <a:gd name="T77" fmla="*/ 755 h 773"/>
                <a:gd name="T78" fmla="*/ 403 w 772"/>
                <a:gd name="T79" fmla="*/ 756 h 773"/>
                <a:gd name="T80" fmla="*/ 404 w 772"/>
                <a:gd name="T81" fmla="*/ 772 h 773"/>
                <a:gd name="T82" fmla="*/ 453 w 772"/>
                <a:gd name="T83" fmla="*/ 767 h 773"/>
                <a:gd name="T84" fmla="*/ 500 w 772"/>
                <a:gd name="T85" fmla="*/ 755 h 773"/>
                <a:gd name="T86" fmla="*/ 546 w 772"/>
                <a:gd name="T87" fmla="*/ 738 h 773"/>
                <a:gd name="T88" fmla="*/ 589 w 772"/>
                <a:gd name="T89" fmla="*/ 715 h 773"/>
                <a:gd name="T90" fmla="*/ 629 w 772"/>
                <a:gd name="T91" fmla="*/ 686 h 773"/>
                <a:gd name="T92" fmla="*/ 647 w 772"/>
                <a:gd name="T93" fmla="*/ 670 h 773"/>
                <a:gd name="T94" fmla="*/ 681 w 772"/>
                <a:gd name="T95" fmla="*/ 635 h 773"/>
                <a:gd name="T96" fmla="*/ 710 w 772"/>
                <a:gd name="T97" fmla="*/ 595 h 773"/>
                <a:gd name="T98" fmla="*/ 734 w 772"/>
                <a:gd name="T99" fmla="*/ 552 h 773"/>
                <a:gd name="T100" fmla="*/ 737 w 772"/>
                <a:gd name="T101" fmla="*/ 502 h 773"/>
                <a:gd name="T102" fmla="*/ 749 w 772"/>
                <a:gd name="T103" fmla="*/ 456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2" h="773">
                  <a:moveTo>
                    <a:pt x="756" y="386"/>
                  </a:moveTo>
                  <a:cubicBezTo>
                    <a:pt x="756" y="394"/>
                    <a:pt x="755" y="402"/>
                    <a:pt x="755" y="410"/>
                  </a:cubicBezTo>
                  <a:cubicBezTo>
                    <a:pt x="771" y="411"/>
                    <a:pt x="771" y="411"/>
                    <a:pt x="771" y="411"/>
                  </a:cubicBezTo>
                  <a:cubicBezTo>
                    <a:pt x="771" y="403"/>
                    <a:pt x="772" y="395"/>
                    <a:pt x="772" y="386"/>
                  </a:cubicBezTo>
                  <a:cubicBezTo>
                    <a:pt x="756" y="386"/>
                    <a:pt x="756" y="386"/>
                    <a:pt x="756" y="386"/>
                  </a:cubicBezTo>
                  <a:moveTo>
                    <a:pt x="755" y="362"/>
                  </a:moveTo>
                  <a:cubicBezTo>
                    <a:pt x="755" y="370"/>
                    <a:pt x="756" y="378"/>
                    <a:pt x="756" y="386"/>
                  </a:cubicBezTo>
                  <a:cubicBezTo>
                    <a:pt x="772" y="386"/>
                    <a:pt x="772" y="386"/>
                    <a:pt x="772" y="386"/>
                  </a:cubicBezTo>
                  <a:cubicBezTo>
                    <a:pt x="772" y="377"/>
                    <a:pt x="771" y="369"/>
                    <a:pt x="771" y="361"/>
                  </a:cubicBezTo>
                  <a:cubicBezTo>
                    <a:pt x="755" y="362"/>
                    <a:pt x="755" y="362"/>
                    <a:pt x="755" y="362"/>
                  </a:cubicBezTo>
                  <a:moveTo>
                    <a:pt x="749" y="316"/>
                  </a:moveTo>
                  <a:cubicBezTo>
                    <a:pt x="750" y="323"/>
                    <a:pt x="752" y="331"/>
                    <a:pt x="753" y="339"/>
                  </a:cubicBezTo>
                  <a:cubicBezTo>
                    <a:pt x="768" y="337"/>
                    <a:pt x="768" y="337"/>
                    <a:pt x="768" y="337"/>
                  </a:cubicBezTo>
                  <a:cubicBezTo>
                    <a:pt x="767" y="329"/>
                    <a:pt x="766" y="320"/>
                    <a:pt x="765" y="312"/>
                  </a:cubicBezTo>
                  <a:cubicBezTo>
                    <a:pt x="749" y="316"/>
                    <a:pt x="749" y="316"/>
                    <a:pt x="749" y="316"/>
                  </a:cubicBezTo>
                  <a:moveTo>
                    <a:pt x="737" y="270"/>
                  </a:moveTo>
                  <a:cubicBezTo>
                    <a:pt x="739" y="278"/>
                    <a:pt x="742" y="285"/>
                    <a:pt x="744" y="293"/>
                  </a:cubicBezTo>
                  <a:cubicBezTo>
                    <a:pt x="759" y="289"/>
                    <a:pt x="759" y="289"/>
                    <a:pt x="759" y="289"/>
                  </a:cubicBezTo>
                  <a:cubicBezTo>
                    <a:pt x="757" y="281"/>
                    <a:pt x="755" y="273"/>
                    <a:pt x="752" y="265"/>
                  </a:cubicBezTo>
                  <a:cubicBezTo>
                    <a:pt x="737" y="270"/>
                    <a:pt x="737" y="270"/>
                    <a:pt x="737" y="270"/>
                  </a:cubicBezTo>
                  <a:moveTo>
                    <a:pt x="719" y="227"/>
                  </a:moveTo>
                  <a:cubicBezTo>
                    <a:pt x="723" y="234"/>
                    <a:pt x="726" y="241"/>
                    <a:pt x="729" y="248"/>
                  </a:cubicBezTo>
                  <a:cubicBezTo>
                    <a:pt x="744" y="242"/>
                    <a:pt x="744" y="242"/>
                    <a:pt x="744" y="242"/>
                  </a:cubicBezTo>
                  <a:cubicBezTo>
                    <a:pt x="741" y="235"/>
                    <a:pt x="737" y="227"/>
                    <a:pt x="734" y="220"/>
                  </a:cubicBezTo>
                  <a:cubicBezTo>
                    <a:pt x="719" y="227"/>
                    <a:pt x="719" y="227"/>
                    <a:pt x="719" y="227"/>
                  </a:cubicBezTo>
                  <a:cubicBezTo>
                    <a:pt x="719" y="227"/>
                    <a:pt x="719" y="227"/>
                    <a:pt x="719" y="227"/>
                  </a:cubicBezTo>
                  <a:moveTo>
                    <a:pt x="697" y="186"/>
                  </a:moveTo>
                  <a:cubicBezTo>
                    <a:pt x="701" y="192"/>
                    <a:pt x="705" y="199"/>
                    <a:pt x="709" y="206"/>
                  </a:cubicBezTo>
                  <a:cubicBezTo>
                    <a:pt x="723" y="198"/>
                    <a:pt x="723" y="198"/>
                    <a:pt x="723" y="198"/>
                  </a:cubicBezTo>
                  <a:cubicBezTo>
                    <a:pt x="719" y="191"/>
                    <a:pt x="714" y="184"/>
                    <a:pt x="710" y="177"/>
                  </a:cubicBezTo>
                  <a:cubicBezTo>
                    <a:pt x="697" y="186"/>
                    <a:pt x="697" y="186"/>
                    <a:pt x="697" y="186"/>
                  </a:cubicBezTo>
                  <a:moveTo>
                    <a:pt x="669" y="148"/>
                  </a:moveTo>
                  <a:cubicBezTo>
                    <a:pt x="674" y="154"/>
                    <a:pt x="679" y="160"/>
                    <a:pt x="683" y="166"/>
                  </a:cubicBezTo>
                  <a:cubicBezTo>
                    <a:pt x="696" y="157"/>
                    <a:pt x="696" y="157"/>
                    <a:pt x="696" y="157"/>
                  </a:cubicBezTo>
                  <a:cubicBezTo>
                    <a:pt x="691" y="150"/>
                    <a:pt x="686" y="144"/>
                    <a:pt x="681" y="138"/>
                  </a:cubicBezTo>
                  <a:cubicBezTo>
                    <a:pt x="669" y="148"/>
                    <a:pt x="669" y="148"/>
                    <a:pt x="669" y="148"/>
                  </a:cubicBezTo>
                  <a:moveTo>
                    <a:pt x="636" y="114"/>
                  </a:moveTo>
                  <a:cubicBezTo>
                    <a:pt x="642" y="119"/>
                    <a:pt x="648" y="125"/>
                    <a:pt x="653" y="131"/>
                  </a:cubicBezTo>
                  <a:cubicBezTo>
                    <a:pt x="665" y="119"/>
                    <a:pt x="665" y="119"/>
                    <a:pt x="665" y="119"/>
                  </a:cubicBezTo>
                  <a:cubicBezTo>
                    <a:pt x="659" y="114"/>
                    <a:pt x="653" y="108"/>
                    <a:pt x="647" y="102"/>
                  </a:cubicBezTo>
                  <a:cubicBezTo>
                    <a:pt x="636" y="114"/>
                    <a:pt x="636" y="114"/>
                    <a:pt x="636" y="114"/>
                  </a:cubicBezTo>
                  <a:moveTo>
                    <a:pt x="600" y="85"/>
                  </a:moveTo>
                  <a:cubicBezTo>
                    <a:pt x="606" y="89"/>
                    <a:pt x="612" y="94"/>
                    <a:pt x="618" y="99"/>
                  </a:cubicBezTo>
                  <a:cubicBezTo>
                    <a:pt x="628" y="86"/>
                    <a:pt x="628" y="86"/>
                    <a:pt x="628" y="86"/>
                  </a:cubicBezTo>
                  <a:cubicBezTo>
                    <a:pt x="622" y="81"/>
                    <a:pt x="616" y="76"/>
                    <a:pt x="609" y="71"/>
                  </a:cubicBezTo>
                  <a:cubicBezTo>
                    <a:pt x="600" y="85"/>
                    <a:pt x="600" y="85"/>
                    <a:pt x="600" y="85"/>
                  </a:cubicBezTo>
                  <a:moveTo>
                    <a:pt x="560" y="60"/>
                  </a:moveTo>
                  <a:cubicBezTo>
                    <a:pt x="567" y="63"/>
                    <a:pt x="573" y="67"/>
                    <a:pt x="580" y="72"/>
                  </a:cubicBezTo>
                  <a:cubicBezTo>
                    <a:pt x="589" y="58"/>
                    <a:pt x="589" y="58"/>
                    <a:pt x="589" y="58"/>
                  </a:cubicBezTo>
                  <a:cubicBezTo>
                    <a:pt x="582" y="54"/>
                    <a:pt x="575" y="50"/>
                    <a:pt x="567" y="46"/>
                  </a:cubicBezTo>
                  <a:cubicBezTo>
                    <a:pt x="560" y="60"/>
                    <a:pt x="560" y="60"/>
                    <a:pt x="560" y="60"/>
                  </a:cubicBezTo>
                  <a:moveTo>
                    <a:pt x="517" y="40"/>
                  </a:moveTo>
                  <a:cubicBezTo>
                    <a:pt x="524" y="43"/>
                    <a:pt x="532" y="46"/>
                    <a:pt x="539" y="49"/>
                  </a:cubicBezTo>
                  <a:cubicBezTo>
                    <a:pt x="545" y="35"/>
                    <a:pt x="545" y="35"/>
                    <a:pt x="545" y="35"/>
                  </a:cubicBezTo>
                  <a:cubicBezTo>
                    <a:pt x="538" y="31"/>
                    <a:pt x="530" y="28"/>
                    <a:pt x="523" y="25"/>
                  </a:cubicBezTo>
                  <a:cubicBezTo>
                    <a:pt x="517" y="40"/>
                    <a:pt x="517" y="40"/>
                    <a:pt x="517" y="40"/>
                  </a:cubicBezTo>
                  <a:moveTo>
                    <a:pt x="472" y="26"/>
                  </a:moveTo>
                  <a:cubicBezTo>
                    <a:pt x="480" y="28"/>
                    <a:pt x="487" y="30"/>
                    <a:pt x="495" y="33"/>
                  </a:cubicBezTo>
                  <a:cubicBezTo>
                    <a:pt x="499" y="17"/>
                    <a:pt x="499" y="17"/>
                    <a:pt x="499" y="17"/>
                  </a:cubicBezTo>
                  <a:cubicBezTo>
                    <a:pt x="492" y="15"/>
                    <a:pt x="484" y="13"/>
                    <a:pt x="476" y="11"/>
                  </a:cubicBezTo>
                  <a:cubicBezTo>
                    <a:pt x="472" y="26"/>
                    <a:pt x="472" y="26"/>
                    <a:pt x="472" y="26"/>
                  </a:cubicBezTo>
                  <a:moveTo>
                    <a:pt x="426" y="18"/>
                  </a:moveTo>
                  <a:cubicBezTo>
                    <a:pt x="434" y="19"/>
                    <a:pt x="441" y="20"/>
                    <a:pt x="449" y="22"/>
                  </a:cubicBezTo>
                  <a:cubicBezTo>
                    <a:pt x="452" y="6"/>
                    <a:pt x="452" y="6"/>
                    <a:pt x="452" y="6"/>
                  </a:cubicBezTo>
                  <a:cubicBezTo>
                    <a:pt x="444" y="5"/>
                    <a:pt x="436" y="3"/>
                    <a:pt x="428" y="3"/>
                  </a:cubicBezTo>
                  <a:cubicBezTo>
                    <a:pt x="426" y="18"/>
                    <a:pt x="426" y="18"/>
                    <a:pt x="426" y="18"/>
                  </a:cubicBezTo>
                  <a:cubicBezTo>
                    <a:pt x="426" y="18"/>
                    <a:pt x="426" y="18"/>
                    <a:pt x="426" y="18"/>
                  </a:cubicBezTo>
                  <a:moveTo>
                    <a:pt x="379" y="16"/>
                  </a:moveTo>
                  <a:cubicBezTo>
                    <a:pt x="381" y="16"/>
                    <a:pt x="383" y="16"/>
                    <a:pt x="385" y="16"/>
                  </a:cubicBezTo>
                  <a:cubicBezTo>
                    <a:pt x="391" y="16"/>
                    <a:pt x="397" y="16"/>
                    <a:pt x="402" y="17"/>
                  </a:cubicBezTo>
                  <a:cubicBezTo>
                    <a:pt x="403" y="1"/>
                    <a:pt x="403" y="1"/>
                    <a:pt x="403" y="1"/>
                  </a:cubicBezTo>
                  <a:cubicBezTo>
                    <a:pt x="397" y="0"/>
                    <a:pt x="391" y="0"/>
                    <a:pt x="385" y="0"/>
                  </a:cubicBezTo>
                  <a:cubicBezTo>
                    <a:pt x="383" y="0"/>
                    <a:pt x="381" y="0"/>
                    <a:pt x="379" y="0"/>
                  </a:cubicBezTo>
                  <a:cubicBezTo>
                    <a:pt x="379" y="16"/>
                    <a:pt x="379" y="16"/>
                    <a:pt x="379" y="16"/>
                  </a:cubicBezTo>
                  <a:moveTo>
                    <a:pt x="332" y="20"/>
                  </a:moveTo>
                  <a:cubicBezTo>
                    <a:pt x="340" y="19"/>
                    <a:pt x="348" y="18"/>
                    <a:pt x="355" y="17"/>
                  </a:cubicBezTo>
                  <a:cubicBezTo>
                    <a:pt x="354" y="2"/>
                    <a:pt x="354" y="2"/>
                    <a:pt x="354" y="2"/>
                  </a:cubicBezTo>
                  <a:cubicBezTo>
                    <a:pt x="346" y="2"/>
                    <a:pt x="338" y="3"/>
                    <a:pt x="330" y="4"/>
                  </a:cubicBezTo>
                  <a:cubicBezTo>
                    <a:pt x="332" y="20"/>
                    <a:pt x="332" y="20"/>
                    <a:pt x="332" y="20"/>
                  </a:cubicBezTo>
                  <a:moveTo>
                    <a:pt x="286" y="30"/>
                  </a:moveTo>
                  <a:cubicBezTo>
                    <a:pt x="294" y="28"/>
                    <a:pt x="301" y="26"/>
                    <a:pt x="309" y="24"/>
                  </a:cubicBezTo>
                  <a:cubicBezTo>
                    <a:pt x="306" y="9"/>
                    <a:pt x="306" y="9"/>
                    <a:pt x="306" y="9"/>
                  </a:cubicBezTo>
                  <a:cubicBezTo>
                    <a:pt x="298" y="10"/>
                    <a:pt x="290" y="12"/>
                    <a:pt x="282" y="14"/>
                  </a:cubicBezTo>
                  <a:cubicBezTo>
                    <a:pt x="286" y="30"/>
                    <a:pt x="286" y="30"/>
                    <a:pt x="286" y="30"/>
                  </a:cubicBezTo>
                  <a:moveTo>
                    <a:pt x="242" y="45"/>
                  </a:moveTo>
                  <a:cubicBezTo>
                    <a:pt x="249" y="42"/>
                    <a:pt x="256" y="39"/>
                    <a:pt x="264" y="37"/>
                  </a:cubicBezTo>
                  <a:cubicBezTo>
                    <a:pt x="259" y="22"/>
                    <a:pt x="259" y="22"/>
                    <a:pt x="259" y="22"/>
                  </a:cubicBezTo>
                  <a:cubicBezTo>
                    <a:pt x="251" y="24"/>
                    <a:pt x="243" y="27"/>
                    <a:pt x="236" y="30"/>
                  </a:cubicBezTo>
                  <a:cubicBezTo>
                    <a:pt x="242" y="45"/>
                    <a:pt x="242" y="45"/>
                    <a:pt x="242" y="45"/>
                  </a:cubicBezTo>
                  <a:moveTo>
                    <a:pt x="200" y="66"/>
                  </a:moveTo>
                  <a:cubicBezTo>
                    <a:pt x="207" y="62"/>
                    <a:pt x="214" y="58"/>
                    <a:pt x="221" y="55"/>
                  </a:cubicBezTo>
                  <a:cubicBezTo>
                    <a:pt x="214" y="41"/>
                    <a:pt x="214" y="41"/>
                    <a:pt x="214" y="41"/>
                  </a:cubicBezTo>
                  <a:cubicBezTo>
                    <a:pt x="206" y="44"/>
                    <a:pt x="199" y="48"/>
                    <a:pt x="192" y="52"/>
                  </a:cubicBezTo>
                  <a:cubicBezTo>
                    <a:pt x="200" y="66"/>
                    <a:pt x="200" y="66"/>
                    <a:pt x="200" y="66"/>
                  </a:cubicBezTo>
                  <a:moveTo>
                    <a:pt x="161" y="92"/>
                  </a:moveTo>
                  <a:cubicBezTo>
                    <a:pt x="167" y="87"/>
                    <a:pt x="174" y="83"/>
                    <a:pt x="180" y="78"/>
                  </a:cubicBezTo>
                  <a:cubicBezTo>
                    <a:pt x="171" y="65"/>
                    <a:pt x="171" y="65"/>
                    <a:pt x="171" y="65"/>
                  </a:cubicBezTo>
                  <a:cubicBezTo>
                    <a:pt x="164" y="70"/>
                    <a:pt x="158" y="74"/>
                    <a:pt x="151" y="79"/>
                  </a:cubicBezTo>
                  <a:cubicBezTo>
                    <a:pt x="161" y="92"/>
                    <a:pt x="161" y="92"/>
                    <a:pt x="161" y="92"/>
                  </a:cubicBezTo>
                  <a:cubicBezTo>
                    <a:pt x="161" y="92"/>
                    <a:pt x="161" y="92"/>
                    <a:pt x="161" y="92"/>
                  </a:cubicBezTo>
                  <a:moveTo>
                    <a:pt x="126" y="123"/>
                  </a:moveTo>
                  <a:cubicBezTo>
                    <a:pt x="131" y="117"/>
                    <a:pt x="137" y="112"/>
                    <a:pt x="143" y="107"/>
                  </a:cubicBezTo>
                  <a:cubicBezTo>
                    <a:pt x="132" y="95"/>
                    <a:pt x="132" y="95"/>
                    <a:pt x="132" y="95"/>
                  </a:cubicBezTo>
                  <a:cubicBezTo>
                    <a:pt x="126" y="100"/>
                    <a:pt x="120" y="106"/>
                    <a:pt x="114" y="112"/>
                  </a:cubicBezTo>
                  <a:cubicBezTo>
                    <a:pt x="126" y="123"/>
                    <a:pt x="126" y="123"/>
                    <a:pt x="126" y="123"/>
                  </a:cubicBezTo>
                  <a:cubicBezTo>
                    <a:pt x="126" y="123"/>
                    <a:pt x="126" y="123"/>
                    <a:pt x="126" y="123"/>
                  </a:cubicBezTo>
                  <a:moveTo>
                    <a:pt x="94" y="158"/>
                  </a:moveTo>
                  <a:cubicBezTo>
                    <a:pt x="99" y="152"/>
                    <a:pt x="104" y="146"/>
                    <a:pt x="109" y="140"/>
                  </a:cubicBezTo>
                  <a:cubicBezTo>
                    <a:pt x="97" y="129"/>
                    <a:pt x="97" y="129"/>
                    <a:pt x="97" y="129"/>
                  </a:cubicBezTo>
                  <a:cubicBezTo>
                    <a:pt x="92" y="135"/>
                    <a:pt x="87" y="142"/>
                    <a:pt x="82" y="148"/>
                  </a:cubicBezTo>
                  <a:cubicBezTo>
                    <a:pt x="94" y="158"/>
                    <a:pt x="94" y="158"/>
                    <a:pt x="94" y="158"/>
                  </a:cubicBezTo>
                  <a:moveTo>
                    <a:pt x="68" y="197"/>
                  </a:moveTo>
                  <a:cubicBezTo>
                    <a:pt x="72" y="190"/>
                    <a:pt x="76" y="183"/>
                    <a:pt x="80" y="177"/>
                  </a:cubicBezTo>
                  <a:cubicBezTo>
                    <a:pt x="67" y="168"/>
                    <a:pt x="67" y="168"/>
                    <a:pt x="67" y="168"/>
                  </a:cubicBezTo>
                  <a:cubicBezTo>
                    <a:pt x="63" y="175"/>
                    <a:pt x="58" y="181"/>
                    <a:pt x="54" y="188"/>
                  </a:cubicBezTo>
                  <a:cubicBezTo>
                    <a:pt x="68" y="197"/>
                    <a:pt x="68" y="197"/>
                    <a:pt x="68" y="197"/>
                  </a:cubicBezTo>
                  <a:moveTo>
                    <a:pt x="46" y="238"/>
                  </a:moveTo>
                  <a:cubicBezTo>
                    <a:pt x="49" y="231"/>
                    <a:pt x="53" y="224"/>
                    <a:pt x="56" y="217"/>
                  </a:cubicBezTo>
                  <a:cubicBezTo>
                    <a:pt x="42" y="210"/>
                    <a:pt x="42" y="210"/>
                    <a:pt x="42" y="210"/>
                  </a:cubicBezTo>
                  <a:cubicBezTo>
                    <a:pt x="38" y="217"/>
                    <a:pt x="35" y="224"/>
                    <a:pt x="31" y="232"/>
                  </a:cubicBezTo>
                  <a:cubicBezTo>
                    <a:pt x="46" y="238"/>
                    <a:pt x="46" y="238"/>
                    <a:pt x="46" y="238"/>
                  </a:cubicBezTo>
                  <a:moveTo>
                    <a:pt x="30" y="283"/>
                  </a:moveTo>
                  <a:cubicBezTo>
                    <a:pt x="32" y="275"/>
                    <a:pt x="35" y="268"/>
                    <a:pt x="37" y="260"/>
                  </a:cubicBezTo>
                  <a:cubicBezTo>
                    <a:pt x="22" y="255"/>
                    <a:pt x="22" y="255"/>
                    <a:pt x="22" y="255"/>
                  </a:cubicBezTo>
                  <a:cubicBezTo>
                    <a:pt x="20" y="262"/>
                    <a:pt x="17" y="270"/>
                    <a:pt x="15" y="278"/>
                  </a:cubicBezTo>
                  <a:cubicBezTo>
                    <a:pt x="30" y="283"/>
                    <a:pt x="30" y="283"/>
                    <a:pt x="30" y="283"/>
                  </a:cubicBezTo>
                  <a:moveTo>
                    <a:pt x="20" y="328"/>
                  </a:moveTo>
                  <a:cubicBezTo>
                    <a:pt x="21" y="321"/>
                    <a:pt x="23" y="313"/>
                    <a:pt x="24" y="305"/>
                  </a:cubicBezTo>
                  <a:cubicBezTo>
                    <a:pt x="9" y="302"/>
                    <a:pt x="9" y="302"/>
                    <a:pt x="9" y="302"/>
                  </a:cubicBezTo>
                  <a:cubicBezTo>
                    <a:pt x="7" y="310"/>
                    <a:pt x="5" y="318"/>
                    <a:pt x="4" y="326"/>
                  </a:cubicBezTo>
                  <a:cubicBezTo>
                    <a:pt x="20" y="328"/>
                    <a:pt x="20" y="328"/>
                    <a:pt x="20" y="328"/>
                  </a:cubicBezTo>
                  <a:moveTo>
                    <a:pt x="16" y="375"/>
                  </a:moveTo>
                  <a:cubicBezTo>
                    <a:pt x="16" y="367"/>
                    <a:pt x="16" y="359"/>
                    <a:pt x="17" y="352"/>
                  </a:cubicBezTo>
                  <a:cubicBezTo>
                    <a:pt x="1" y="350"/>
                    <a:pt x="1" y="350"/>
                    <a:pt x="1" y="350"/>
                  </a:cubicBezTo>
                  <a:cubicBezTo>
                    <a:pt x="0" y="358"/>
                    <a:pt x="0" y="366"/>
                    <a:pt x="0" y="375"/>
                  </a:cubicBezTo>
                  <a:cubicBezTo>
                    <a:pt x="16" y="375"/>
                    <a:pt x="16" y="375"/>
                    <a:pt x="16" y="375"/>
                  </a:cubicBezTo>
                  <a:moveTo>
                    <a:pt x="17" y="422"/>
                  </a:moveTo>
                  <a:cubicBezTo>
                    <a:pt x="16" y="414"/>
                    <a:pt x="16" y="406"/>
                    <a:pt x="16" y="399"/>
                  </a:cubicBezTo>
                  <a:cubicBezTo>
                    <a:pt x="0" y="399"/>
                    <a:pt x="0" y="399"/>
                    <a:pt x="0" y="399"/>
                  </a:cubicBezTo>
                  <a:cubicBezTo>
                    <a:pt x="0" y="407"/>
                    <a:pt x="0" y="415"/>
                    <a:pt x="1" y="424"/>
                  </a:cubicBezTo>
                  <a:cubicBezTo>
                    <a:pt x="17" y="422"/>
                    <a:pt x="17" y="422"/>
                    <a:pt x="17" y="422"/>
                  </a:cubicBezTo>
                  <a:moveTo>
                    <a:pt x="24" y="468"/>
                  </a:moveTo>
                  <a:cubicBezTo>
                    <a:pt x="23" y="461"/>
                    <a:pt x="21" y="453"/>
                    <a:pt x="20" y="445"/>
                  </a:cubicBezTo>
                  <a:cubicBezTo>
                    <a:pt x="4" y="448"/>
                    <a:pt x="4" y="448"/>
                    <a:pt x="4" y="448"/>
                  </a:cubicBezTo>
                  <a:cubicBezTo>
                    <a:pt x="6" y="456"/>
                    <a:pt x="7" y="464"/>
                    <a:pt x="9" y="472"/>
                  </a:cubicBezTo>
                  <a:cubicBezTo>
                    <a:pt x="24" y="468"/>
                    <a:pt x="24" y="468"/>
                    <a:pt x="24" y="468"/>
                  </a:cubicBezTo>
                  <a:moveTo>
                    <a:pt x="38" y="513"/>
                  </a:moveTo>
                  <a:cubicBezTo>
                    <a:pt x="35" y="506"/>
                    <a:pt x="33" y="499"/>
                    <a:pt x="30" y="491"/>
                  </a:cubicBezTo>
                  <a:cubicBezTo>
                    <a:pt x="15" y="496"/>
                    <a:pt x="15" y="496"/>
                    <a:pt x="15" y="496"/>
                  </a:cubicBezTo>
                  <a:cubicBezTo>
                    <a:pt x="17" y="503"/>
                    <a:pt x="20" y="511"/>
                    <a:pt x="23" y="519"/>
                  </a:cubicBezTo>
                  <a:cubicBezTo>
                    <a:pt x="38" y="513"/>
                    <a:pt x="38" y="513"/>
                    <a:pt x="38" y="513"/>
                  </a:cubicBezTo>
                  <a:cubicBezTo>
                    <a:pt x="38" y="513"/>
                    <a:pt x="38" y="513"/>
                    <a:pt x="38" y="513"/>
                  </a:cubicBezTo>
                  <a:moveTo>
                    <a:pt x="57" y="556"/>
                  </a:moveTo>
                  <a:cubicBezTo>
                    <a:pt x="53" y="549"/>
                    <a:pt x="50" y="542"/>
                    <a:pt x="46" y="535"/>
                  </a:cubicBezTo>
                  <a:cubicBezTo>
                    <a:pt x="32" y="542"/>
                    <a:pt x="32" y="542"/>
                    <a:pt x="32" y="542"/>
                  </a:cubicBezTo>
                  <a:cubicBezTo>
                    <a:pt x="35" y="549"/>
                    <a:pt x="39" y="556"/>
                    <a:pt x="42" y="564"/>
                  </a:cubicBezTo>
                  <a:cubicBezTo>
                    <a:pt x="57" y="556"/>
                    <a:pt x="57" y="556"/>
                    <a:pt x="57" y="556"/>
                  </a:cubicBezTo>
                  <a:moveTo>
                    <a:pt x="81" y="596"/>
                  </a:moveTo>
                  <a:cubicBezTo>
                    <a:pt x="76" y="590"/>
                    <a:pt x="72" y="583"/>
                    <a:pt x="68" y="577"/>
                  </a:cubicBezTo>
                  <a:cubicBezTo>
                    <a:pt x="54" y="585"/>
                    <a:pt x="54" y="585"/>
                    <a:pt x="54" y="585"/>
                  </a:cubicBezTo>
                  <a:cubicBezTo>
                    <a:pt x="58" y="592"/>
                    <a:pt x="63" y="599"/>
                    <a:pt x="68" y="606"/>
                  </a:cubicBezTo>
                  <a:cubicBezTo>
                    <a:pt x="81" y="596"/>
                    <a:pt x="81" y="596"/>
                    <a:pt x="81" y="596"/>
                  </a:cubicBezTo>
                  <a:moveTo>
                    <a:pt x="110" y="633"/>
                  </a:moveTo>
                  <a:cubicBezTo>
                    <a:pt x="105" y="628"/>
                    <a:pt x="100" y="622"/>
                    <a:pt x="95" y="615"/>
                  </a:cubicBezTo>
                  <a:cubicBezTo>
                    <a:pt x="82" y="625"/>
                    <a:pt x="82" y="625"/>
                    <a:pt x="82" y="625"/>
                  </a:cubicBezTo>
                  <a:cubicBezTo>
                    <a:pt x="87" y="632"/>
                    <a:pt x="92" y="638"/>
                    <a:pt x="98" y="644"/>
                  </a:cubicBezTo>
                  <a:cubicBezTo>
                    <a:pt x="110" y="633"/>
                    <a:pt x="110" y="633"/>
                    <a:pt x="110" y="633"/>
                  </a:cubicBezTo>
                  <a:moveTo>
                    <a:pt x="143" y="666"/>
                  </a:moveTo>
                  <a:cubicBezTo>
                    <a:pt x="137" y="661"/>
                    <a:pt x="132" y="656"/>
                    <a:pt x="126" y="650"/>
                  </a:cubicBezTo>
                  <a:cubicBezTo>
                    <a:pt x="115" y="662"/>
                    <a:pt x="115" y="662"/>
                    <a:pt x="115" y="662"/>
                  </a:cubicBezTo>
                  <a:cubicBezTo>
                    <a:pt x="121" y="667"/>
                    <a:pt x="127" y="673"/>
                    <a:pt x="133" y="678"/>
                  </a:cubicBezTo>
                  <a:cubicBezTo>
                    <a:pt x="143" y="666"/>
                    <a:pt x="143" y="666"/>
                    <a:pt x="143" y="666"/>
                  </a:cubicBezTo>
                  <a:moveTo>
                    <a:pt x="181" y="695"/>
                  </a:moveTo>
                  <a:cubicBezTo>
                    <a:pt x="174" y="690"/>
                    <a:pt x="168" y="686"/>
                    <a:pt x="161" y="681"/>
                  </a:cubicBezTo>
                  <a:cubicBezTo>
                    <a:pt x="152" y="694"/>
                    <a:pt x="152" y="694"/>
                    <a:pt x="152" y="694"/>
                  </a:cubicBezTo>
                  <a:cubicBezTo>
                    <a:pt x="158" y="699"/>
                    <a:pt x="165" y="704"/>
                    <a:pt x="172" y="708"/>
                  </a:cubicBezTo>
                  <a:cubicBezTo>
                    <a:pt x="181" y="695"/>
                    <a:pt x="181" y="695"/>
                    <a:pt x="181" y="695"/>
                  </a:cubicBezTo>
                  <a:moveTo>
                    <a:pt x="221" y="718"/>
                  </a:moveTo>
                  <a:cubicBezTo>
                    <a:pt x="214" y="715"/>
                    <a:pt x="207" y="711"/>
                    <a:pt x="201" y="707"/>
                  </a:cubicBezTo>
                  <a:cubicBezTo>
                    <a:pt x="193" y="721"/>
                    <a:pt x="193" y="721"/>
                    <a:pt x="193" y="721"/>
                  </a:cubicBezTo>
                  <a:cubicBezTo>
                    <a:pt x="200" y="725"/>
                    <a:pt x="207" y="729"/>
                    <a:pt x="214" y="733"/>
                  </a:cubicBezTo>
                  <a:cubicBezTo>
                    <a:pt x="221" y="718"/>
                    <a:pt x="221" y="718"/>
                    <a:pt x="221" y="718"/>
                  </a:cubicBezTo>
                  <a:moveTo>
                    <a:pt x="265" y="736"/>
                  </a:moveTo>
                  <a:cubicBezTo>
                    <a:pt x="257" y="734"/>
                    <a:pt x="250" y="731"/>
                    <a:pt x="243" y="728"/>
                  </a:cubicBezTo>
                  <a:cubicBezTo>
                    <a:pt x="236" y="743"/>
                    <a:pt x="236" y="743"/>
                    <a:pt x="236" y="743"/>
                  </a:cubicBezTo>
                  <a:cubicBezTo>
                    <a:pt x="244" y="746"/>
                    <a:pt x="252" y="749"/>
                    <a:pt x="259" y="751"/>
                  </a:cubicBezTo>
                  <a:cubicBezTo>
                    <a:pt x="265" y="736"/>
                    <a:pt x="265" y="736"/>
                    <a:pt x="265" y="736"/>
                  </a:cubicBezTo>
                  <a:cubicBezTo>
                    <a:pt x="265" y="736"/>
                    <a:pt x="265" y="736"/>
                    <a:pt x="265" y="736"/>
                  </a:cubicBezTo>
                  <a:moveTo>
                    <a:pt x="310" y="749"/>
                  </a:moveTo>
                  <a:cubicBezTo>
                    <a:pt x="302" y="747"/>
                    <a:pt x="295" y="745"/>
                    <a:pt x="287" y="743"/>
                  </a:cubicBezTo>
                  <a:cubicBezTo>
                    <a:pt x="283" y="759"/>
                    <a:pt x="283" y="759"/>
                    <a:pt x="283" y="759"/>
                  </a:cubicBezTo>
                  <a:cubicBezTo>
                    <a:pt x="291" y="761"/>
                    <a:pt x="299" y="763"/>
                    <a:pt x="307" y="764"/>
                  </a:cubicBezTo>
                  <a:cubicBezTo>
                    <a:pt x="310" y="749"/>
                    <a:pt x="310" y="749"/>
                    <a:pt x="310" y="749"/>
                  </a:cubicBezTo>
                  <a:cubicBezTo>
                    <a:pt x="310" y="749"/>
                    <a:pt x="310" y="749"/>
                    <a:pt x="310" y="749"/>
                  </a:cubicBezTo>
                  <a:moveTo>
                    <a:pt x="356" y="755"/>
                  </a:moveTo>
                  <a:cubicBezTo>
                    <a:pt x="349" y="755"/>
                    <a:pt x="341" y="754"/>
                    <a:pt x="333" y="753"/>
                  </a:cubicBezTo>
                  <a:cubicBezTo>
                    <a:pt x="331" y="769"/>
                    <a:pt x="331" y="769"/>
                    <a:pt x="331" y="769"/>
                  </a:cubicBezTo>
                  <a:cubicBezTo>
                    <a:pt x="339" y="770"/>
                    <a:pt x="347" y="771"/>
                    <a:pt x="355" y="771"/>
                  </a:cubicBezTo>
                  <a:cubicBezTo>
                    <a:pt x="356" y="755"/>
                    <a:pt x="356" y="755"/>
                    <a:pt x="356" y="755"/>
                  </a:cubicBezTo>
                  <a:moveTo>
                    <a:pt x="403" y="756"/>
                  </a:moveTo>
                  <a:cubicBezTo>
                    <a:pt x="397" y="756"/>
                    <a:pt x="391" y="757"/>
                    <a:pt x="385" y="757"/>
                  </a:cubicBezTo>
                  <a:cubicBezTo>
                    <a:pt x="384" y="757"/>
                    <a:pt x="382" y="757"/>
                    <a:pt x="380" y="757"/>
                  </a:cubicBezTo>
                  <a:cubicBezTo>
                    <a:pt x="380" y="773"/>
                    <a:pt x="380" y="773"/>
                    <a:pt x="380" y="773"/>
                  </a:cubicBezTo>
                  <a:cubicBezTo>
                    <a:pt x="382" y="773"/>
                    <a:pt x="384" y="773"/>
                    <a:pt x="385" y="773"/>
                  </a:cubicBezTo>
                  <a:cubicBezTo>
                    <a:pt x="392" y="773"/>
                    <a:pt x="398" y="772"/>
                    <a:pt x="404" y="772"/>
                  </a:cubicBezTo>
                  <a:cubicBezTo>
                    <a:pt x="403" y="756"/>
                    <a:pt x="403" y="756"/>
                    <a:pt x="403" y="756"/>
                  </a:cubicBezTo>
                  <a:moveTo>
                    <a:pt x="450" y="751"/>
                  </a:moveTo>
                  <a:cubicBezTo>
                    <a:pt x="442" y="752"/>
                    <a:pt x="435" y="753"/>
                    <a:pt x="427" y="754"/>
                  </a:cubicBezTo>
                  <a:cubicBezTo>
                    <a:pt x="428" y="770"/>
                    <a:pt x="428" y="770"/>
                    <a:pt x="428" y="770"/>
                  </a:cubicBezTo>
                  <a:cubicBezTo>
                    <a:pt x="437" y="769"/>
                    <a:pt x="445" y="768"/>
                    <a:pt x="453" y="767"/>
                  </a:cubicBezTo>
                  <a:cubicBezTo>
                    <a:pt x="450" y="751"/>
                    <a:pt x="450" y="751"/>
                    <a:pt x="450" y="751"/>
                  </a:cubicBezTo>
                  <a:moveTo>
                    <a:pt x="496" y="740"/>
                  </a:moveTo>
                  <a:cubicBezTo>
                    <a:pt x="488" y="742"/>
                    <a:pt x="481" y="744"/>
                    <a:pt x="473" y="746"/>
                  </a:cubicBezTo>
                  <a:cubicBezTo>
                    <a:pt x="477" y="762"/>
                    <a:pt x="477" y="762"/>
                    <a:pt x="477" y="762"/>
                  </a:cubicBezTo>
                  <a:cubicBezTo>
                    <a:pt x="485" y="760"/>
                    <a:pt x="493" y="758"/>
                    <a:pt x="500" y="755"/>
                  </a:cubicBezTo>
                  <a:cubicBezTo>
                    <a:pt x="496" y="740"/>
                    <a:pt x="496" y="740"/>
                    <a:pt x="496" y="740"/>
                  </a:cubicBezTo>
                  <a:moveTo>
                    <a:pt x="539" y="723"/>
                  </a:moveTo>
                  <a:cubicBezTo>
                    <a:pt x="532" y="726"/>
                    <a:pt x="525" y="729"/>
                    <a:pt x="518" y="732"/>
                  </a:cubicBezTo>
                  <a:cubicBezTo>
                    <a:pt x="523" y="747"/>
                    <a:pt x="523" y="747"/>
                    <a:pt x="523" y="747"/>
                  </a:cubicBezTo>
                  <a:cubicBezTo>
                    <a:pt x="531" y="744"/>
                    <a:pt x="539" y="741"/>
                    <a:pt x="546" y="738"/>
                  </a:cubicBezTo>
                  <a:cubicBezTo>
                    <a:pt x="539" y="723"/>
                    <a:pt x="539" y="723"/>
                    <a:pt x="539" y="723"/>
                  </a:cubicBezTo>
                  <a:moveTo>
                    <a:pt x="581" y="701"/>
                  </a:moveTo>
                  <a:cubicBezTo>
                    <a:pt x="574" y="705"/>
                    <a:pt x="567" y="709"/>
                    <a:pt x="560" y="713"/>
                  </a:cubicBezTo>
                  <a:cubicBezTo>
                    <a:pt x="568" y="727"/>
                    <a:pt x="568" y="727"/>
                    <a:pt x="568" y="727"/>
                  </a:cubicBezTo>
                  <a:cubicBezTo>
                    <a:pt x="575" y="723"/>
                    <a:pt x="582" y="719"/>
                    <a:pt x="589" y="715"/>
                  </a:cubicBezTo>
                  <a:cubicBezTo>
                    <a:pt x="581" y="701"/>
                    <a:pt x="581" y="701"/>
                    <a:pt x="581" y="701"/>
                  </a:cubicBezTo>
                  <a:moveTo>
                    <a:pt x="619" y="674"/>
                  </a:moveTo>
                  <a:cubicBezTo>
                    <a:pt x="613" y="679"/>
                    <a:pt x="607" y="683"/>
                    <a:pt x="600" y="688"/>
                  </a:cubicBezTo>
                  <a:cubicBezTo>
                    <a:pt x="609" y="701"/>
                    <a:pt x="609" y="701"/>
                    <a:pt x="609" y="701"/>
                  </a:cubicBezTo>
                  <a:cubicBezTo>
                    <a:pt x="616" y="696"/>
                    <a:pt x="623" y="691"/>
                    <a:pt x="629" y="686"/>
                  </a:cubicBezTo>
                  <a:cubicBezTo>
                    <a:pt x="619" y="674"/>
                    <a:pt x="619" y="674"/>
                    <a:pt x="619" y="674"/>
                  </a:cubicBezTo>
                  <a:cubicBezTo>
                    <a:pt x="619" y="674"/>
                    <a:pt x="619" y="674"/>
                    <a:pt x="619" y="674"/>
                  </a:cubicBezTo>
                  <a:moveTo>
                    <a:pt x="653" y="642"/>
                  </a:moveTo>
                  <a:cubicBezTo>
                    <a:pt x="648" y="648"/>
                    <a:pt x="642" y="653"/>
                    <a:pt x="637" y="658"/>
                  </a:cubicBezTo>
                  <a:cubicBezTo>
                    <a:pt x="647" y="670"/>
                    <a:pt x="647" y="670"/>
                    <a:pt x="647" y="670"/>
                  </a:cubicBezTo>
                  <a:cubicBezTo>
                    <a:pt x="653" y="665"/>
                    <a:pt x="659" y="659"/>
                    <a:pt x="665" y="653"/>
                  </a:cubicBezTo>
                  <a:cubicBezTo>
                    <a:pt x="653" y="642"/>
                    <a:pt x="653" y="642"/>
                    <a:pt x="653" y="642"/>
                  </a:cubicBezTo>
                  <a:moveTo>
                    <a:pt x="684" y="606"/>
                  </a:moveTo>
                  <a:cubicBezTo>
                    <a:pt x="679" y="612"/>
                    <a:pt x="674" y="618"/>
                    <a:pt x="669" y="624"/>
                  </a:cubicBezTo>
                  <a:cubicBezTo>
                    <a:pt x="681" y="635"/>
                    <a:pt x="681" y="635"/>
                    <a:pt x="681" y="635"/>
                  </a:cubicBezTo>
                  <a:cubicBezTo>
                    <a:pt x="687" y="628"/>
                    <a:pt x="692" y="622"/>
                    <a:pt x="696" y="615"/>
                  </a:cubicBezTo>
                  <a:cubicBezTo>
                    <a:pt x="684" y="606"/>
                    <a:pt x="684" y="606"/>
                    <a:pt x="684" y="606"/>
                  </a:cubicBezTo>
                  <a:moveTo>
                    <a:pt x="709" y="566"/>
                  </a:moveTo>
                  <a:cubicBezTo>
                    <a:pt x="705" y="573"/>
                    <a:pt x="701" y="580"/>
                    <a:pt x="697" y="587"/>
                  </a:cubicBezTo>
                  <a:cubicBezTo>
                    <a:pt x="710" y="595"/>
                    <a:pt x="710" y="595"/>
                    <a:pt x="710" y="595"/>
                  </a:cubicBezTo>
                  <a:cubicBezTo>
                    <a:pt x="715" y="588"/>
                    <a:pt x="719" y="581"/>
                    <a:pt x="723" y="574"/>
                  </a:cubicBezTo>
                  <a:cubicBezTo>
                    <a:pt x="709" y="566"/>
                    <a:pt x="709" y="566"/>
                    <a:pt x="709" y="566"/>
                  </a:cubicBezTo>
                  <a:moveTo>
                    <a:pt x="729" y="524"/>
                  </a:moveTo>
                  <a:cubicBezTo>
                    <a:pt x="726" y="531"/>
                    <a:pt x="723" y="538"/>
                    <a:pt x="720" y="546"/>
                  </a:cubicBezTo>
                  <a:cubicBezTo>
                    <a:pt x="734" y="552"/>
                    <a:pt x="734" y="552"/>
                    <a:pt x="734" y="552"/>
                  </a:cubicBezTo>
                  <a:cubicBezTo>
                    <a:pt x="738" y="545"/>
                    <a:pt x="741" y="538"/>
                    <a:pt x="744" y="530"/>
                  </a:cubicBezTo>
                  <a:cubicBezTo>
                    <a:pt x="729" y="524"/>
                    <a:pt x="729" y="524"/>
                    <a:pt x="729" y="524"/>
                  </a:cubicBezTo>
                  <a:cubicBezTo>
                    <a:pt x="729" y="524"/>
                    <a:pt x="729" y="524"/>
                    <a:pt x="729" y="524"/>
                  </a:cubicBezTo>
                  <a:moveTo>
                    <a:pt x="744" y="479"/>
                  </a:moveTo>
                  <a:cubicBezTo>
                    <a:pt x="742" y="487"/>
                    <a:pt x="740" y="494"/>
                    <a:pt x="737" y="502"/>
                  </a:cubicBezTo>
                  <a:cubicBezTo>
                    <a:pt x="752" y="507"/>
                    <a:pt x="752" y="507"/>
                    <a:pt x="752" y="507"/>
                  </a:cubicBezTo>
                  <a:cubicBezTo>
                    <a:pt x="755" y="499"/>
                    <a:pt x="757" y="491"/>
                    <a:pt x="759" y="483"/>
                  </a:cubicBezTo>
                  <a:cubicBezTo>
                    <a:pt x="744" y="479"/>
                    <a:pt x="744" y="479"/>
                    <a:pt x="744" y="479"/>
                  </a:cubicBezTo>
                  <a:moveTo>
                    <a:pt x="753" y="433"/>
                  </a:moveTo>
                  <a:cubicBezTo>
                    <a:pt x="752" y="441"/>
                    <a:pt x="750" y="449"/>
                    <a:pt x="749" y="456"/>
                  </a:cubicBezTo>
                  <a:cubicBezTo>
                    <a:pt x="765" y="459"/>
                    <a:pt x="765" y="459"/>
                    <a:pt x="765" y="459"/>
                  </a:cubicBezTo>
                  <a:cubicBezTo>
                    <a:pt x="766" y="451"/>
                    <a:pt x="768" y="443"/>
                    <a:pt x="769" y="435"/>
                  </a:cubicBezTo>
                  <a:cubicBezTo>
                    <a:pt x="753" y="433"/>
                    <a:pt x="753" y="433"/>
                    <a:pt x="753" y="433"/>
                  </a:cubicBezTo>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45" name="Oval 244"/>
            <p:cNvSpPr>
              <a:spLocks noChangeAspect="1"/>
            </p:cNvSpPr>
            <p:nvPr/>
          </p:nvSpPr>
          <p:spPr>
            <a:xfrm>
              <a:off x="6572074" y="3328527"/>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46" name="Oval 245"/>
            <p:cNvSpPr>
              <a:spLocks noChangeAspect="1"/>
            </p:cNvSpPr>
            <p:nvPr/>
          </p:nvSpPr>
          <p:spPr>
            <a:xfrm>
              <a:off x="6893295" y="3999019"/>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47" name="Oval 246"/>
            <p:cNvSpPr>
              <a:spLocks noChangeAspect="1"/>
            </p:cNvSpPr>
            <p:nvPr/>
          </p:nvSpPr>
          <p:spPr>
            <a:xfrm>
              <a:off x="6771960" y="4768830"/>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48" name="Oval 247"/>
            <p:cNvSpPr>
              <a:spLocks noChangeAspect="1"/>
            </p:cNvSpPr>
            <p:nvPr/>
          </p:nvSpPr>
          <p:spPr>
            <a:xfrm>
              <a:off x="6213687" y="5306379"/>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49" name="Oval 248"/>
            <p:cNvSpPr>
              <a:spLocks noChangeAspect="1"/>
            </p:cNvSpPr>
            <p:nvPr/>
          </p:nvSpPr>
          <p:spPr>
            <a:xfrm>
              <a:off x="5367774" y="5317470"/>
              <a:ext cx="548640" cy="548640"/>
            </a:xfrm>
            <a:prstGeom prst="ellipse">
              <a:avLst/>
            </a:prstGeom>
            <a:solidFill>
              <a:schemeClr val="bg1"/>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50" name="Oval 249"/>
            <p:cNvSpPr>
              <a:spLocks noChangeAspect="1"/>
            </p:cNvSpPr>
            <p:nvPr/>
          </p:nvSpPr>
          <p:spPr>
            <a:xfrm>
              <a:off x="4799444" y="4752143"/>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51" name="Oval 250"/>
            <p:cNvSpPr>
              <a:spLocks noChangeAspect="1"/>
            </p:cNvSpPr>
            <p:nvPr/>
          </p:nvSpPr>
          <p:spPr>
            <a:xfrm>
              <a:off x="4697235" y="3997181"/>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52" name="Oval 251"/>
            <p:cNvSpPr>
              <a:spLocks noChangeAspect="1"/>
            </p:cNvSpPr>
            <p:nvPr/>
          </p:nvSpPr>
          <p:spPr>
            <a:xfrm>
              <a:off x="5093454" y="3326653"/>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53" name="Oval 252"/>
            <p:cNvSpPr>
              <a:spLocks noChangeAspect="1"/>
            </p:cNvSpPr>
            <p:nvPr/>
          </p:nvSpPr>
          <p:spPr>
            <a:xfrm>
              <a:off x="5793637" y="3103745"/>
              <a:ext cx="548640" cy="548640"/>
            </a:xfrm>
            <a:prstGeom prst="ellipse">
              <a:avLst/>
            </a:prstGeom>
            <a:solidFill>
              <a:srgbClr val="FFFFFF"/>
            </a:solidFill>
            <a:ln w="9525"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54" name="Freeform 60"/>
            <p:cNvSpPr>
              <a:spLocks noChangeAspect="1"/>
            </p:cNvSpPr>
            <p:nvPr/>
          </p:nvSpPr>
          <p:spPr bwMode="auto">
            <a:xfrm>
              <a:off x="5704306" y="4078193"/>
              <a:ext cx="715757" cy="735639"/>
            </a:xfrm>
            <a:custGeom>
              <a:avLst/>
              <a:gdLst>
                <a:gd name="T0" fmla="*/ 128 w 133"/>
                <a:gd name="T1" fmla="*/ 118 h 137"/>
                <a:gd name="T2" fmla="*/ 113 w 133"/>
                <a:gd name="T3" fmla="*/ 106 h 137"/>
                <a:gd name="T4" fmla="*/ 88 w 133"/>
                <a:gd name="T5" fmla="*/ 99 h 137"/>
                <a:gd name="T6" fmla="*/ 88 w 133"/>
                <a:gd name="T7" fmla="*/ 99 h 137"/>
                <a:gd name="T8" fmla="*/ 79 w 133"/>
                <a:gd name="T9" fmla="*/ 91 h 137"/>
                <a:gd name="T10" fmla="*/ 79 w 133"/>
                <a:gd name="T11" fmla="*/ 91 h 137"/>
                <a:gd name="T12" fmla="*/ 79 w 133"/>
                <a:gd name="T13" fmla="*/ 84 h 137"/>
                <a:gd name="T14" fmla="*/ 90 w 133"/>
                <a:gd name="T15" fmla="*/ 72 h 137"/>
                <a:gd name="T16" fmla="*/ 90 w 133"/>
                <a:gd name="T17" fmla="*/ 69 h 137"/>
                <a:gd name="T18" fmla="*/ 92 w 133"/>
                <a:gd name="T19" fmla="*/ 63 h 137"/>
                <a:gd name="T20" fmla="*/ 98 w 133"/>
                <a:gd name="T21" fmla="*/ 49 h 137"/>
                <a:gd name="T22" fmla="*/ 95 w 133"/>
                <a:gd name="T23" fmla="*/ 47 h 137"/>
                <a:gd name="T24" fmla="*/ 95 w 133"/>
                <a:gd name="T25" fmla="*/ 46 h 137"/>
                <a:gd name="T26" fmla="*/ 64 w 133"/>
                <a:gd name="T27" fmla="*/ 1 h 137"/>
                <a:gd name="T28" fmla="*/ 47 w 133"/>
                <a:gd name="T29" fmla="*/ 12 h 137"/>
                <a:gd name="T30" fmla="*/ 39 w 133"/>
                <a:gd name="T31" fmla="*/ 21 h 137"/>
                <a:gd name="T32" fmla="*/ 38 w 133"/>
                <a:gd name="T33" fmla="*/ 47 h 137"/>
                <a:gd name="T34" fmla="*/ 34 w 133"/>
                <a:gd name="T35" fmla="*/ 49 h 137"/>
                <a:gd name="T36" fmla="*/ 40 w 133"/>
                <a:gd name="T37" fmla="*/ 63 h 137"/>
                <a:gd name="T38" fmla="*/ 42 w 133"/>
                <a:gd name="T39" fmla="*/ 68 h 137"/>
                <a:gd name="T40" fmla="*/ 43 w 133"/>
                <a:gd name="T41" fmla="*/ 72 h 137"/>
                <a:gd name="T42" fmla="*/ 54 w 133"/>
                <a:gd name="T43" fmla="*/ 84 h 137"/>
                <a:gd name="T44" fmla="*/ 54 w 133"/>
                <a:gd name="T45" fmla="*/ 90 h 137"/>
                <a:gd name="T46" fmla="*/ 54 w 133"/>
                <a:gd name="T47" fmla="*/ 90 h 137"/>
                <a:gd name="T48" fmla="*/ 44 w 133"/>
                <a:gd name="T49" fmla="*/ 99 h 137"/>
                <a:gd name="T50" fmla="*/ 19 w 133"/>
                <a:gd name="T51" fmla="*/ 106 h 137"/>
                <a:gd name="T52" fmla="*/ 5 w 133"/>
                <a:gd name="T53" fmla="*/ 118 h 137"/>
                <a:gd name="T54" fmla="*/ 0 w 133"/>
                <a:gd name="T55" fmla="*/ 137 h 137"/>
                <a:gd name="T56" fmla="*/ 58 w 133"/>
                <a:gd name="T57" fmla="*/ 137 h 137"/>
                <a:gd name="T58" fmla="*/ 66 w 133"/>
                <a:gd name="T59" fmla="*/ 137 h 137"/>
                <a:gd name="T60" fmla="*/ 66 w 133"/>
                <a:gd name="T61" fmla="*/ 137 h 137"/>
                <a:gd name="T62" fmla="*/ 67 w 133"/>
                <a:gd name="T63" fmla="*/ 137 h 137"/>
                <a:gd name="T64" fmla="*/ 67 w 133"/>
                <a:gd name="T65" fmla="*/ 137 h 137"/>
                <a:gd name="T66" fmla="*/ 75 w 133"/>
                <a:gd name="T67" fmla="*/ 137 h 137"/>
                <a:gd name="T68" fmla="*/ 133 w 133"/>
                <a:gd name="T69" fmla="*/ 137 h 137"/>
                <a:gd name="T70" fmla="*/ 128 w 133"/>
                <a:gd name="T71" fmla="*/ 11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 h="137">
                  <a:moveTo>
                    <a:pt x="128" y="118"/>
                  </a:moveTo>
                  <a:cubicBezTo>
                    <a:pt x="125" y="108"/>
                    <a:pt x="113" y="106"/>
                    <a:pt x="113" y="106"/>
                  </a:cubicBezTo>
                  <a:cubicBezTo>
                    <a:pt x="88" y="99"/>
                    <a:pt x="88" y="99"/>
                    <a:pt x="88" y="99"/>
                  </a:cubicBezTo>
                  <a:cubicBezTo>
                    <a:pt x="88" y="99"/>
                    <a:pt x="88" y="99"/>
                    <a:pt x="88" y="99"/>
                  </a:cubicBezTo>
                  <a:cubicBezTo>
                    <a:pt x="79" y="91"/>
                    <a:pt x="79" y="91"/>
                    <a:pt x="79" y="91"/>
                  </a:cubicBezTo>
                  <a:cubicBezTo>
                    <a:pt x="79" y="91"/>
                    <a:pt x="79" y="91"/>
                    <a:pt x="79" y="91"/>
                  </a:cubicBezTo>
                  <a:cubicBezTo>
                    <a:pt x="79" y="84"/>
                    <a:pt x="79" y="84"/>
                    <a:pt x="79" y="84"/>
                  </a:cubicBezTo>
                  <a:cubicBezTo>
                    <a:pt x="84" y="82"/>
                    <a:pt x="88" y="77"/>
                    <a:pt x="90" y="72"/>
                  </a:cubicBezTo>
                  <a:cubicBezTo>
                    <a:pt x="90" y="71"/>
                    <a:pt x="90" y="70"/>
                    <a:pt x="90" y="69"/>
                  </a:cubicBezTo>
                  <a:cubicBezTo>
                    <a:pt x="90" y="69"/>
                    <a:pt x="91" y="66"/>
                    <a:pt x="92" y="63"/>
                  </a:cubicBezTo>
                  <a:cubicBezTo>
                    <a:pt x="98" y="63"/>
                    <a:pt x="98" y="49"/>
                    <a:pt x="98" y="49"/>
                  </a:cubicBezTo>
                  <a:cubicBezTo>
                    <a:pt x="97" y="47"/>
                    <a:pt x="96" y="47"/>
                    <a:pt x="95" y="47"/>
                  </a:cubicBezTo>
                  <a:cubicBezTo>
                    <a:pt x="95" y="47"/>
                    <a:pt x="95" y="46"/>
                    <a:pt x="95" y="46"/>
                  </a:cubicBezTo>
                  <a:cubicBezTo>
                    <a:pt x="95" y="46"/>
                    <a:pt x="106" y="0"/>
                    <a:pt x="64" y="1"/>
                  </a:cubicBezTo>
                  <a:cubicBezTo>
                    <a:pt x="64" y="1"/>
                    <a:pt x="49" y="3"/>
                    <a:pt x="47" y="12"/>
                  </a:cubicBezTo>
                  <a:cubicBezTo>
                    <a:pt x="47" y="12"/>
                    <a:pt x="40" y="14"/>
                    <a:pt x="39" y="21"/>
                  </a:cubicBezTo>
                  <a:cubicBezTo>
                    <a:pt x="39" y="21"/>
                    <a:pt x="37" y="33"/>
                    <a:pt x="38" y="47"/>
                  </a:cubicBezTo>
                  <a:cubicBezTo>
                    <a:pt x="36" y="47"/>
                    <a:pt x="35" y="47"/>
                    <a:pt x="34" y="49"/>
                  </a:cubicBezTo>
                  <a:cubicBezTo>
                    <a:pt x="34" y="49"/>
                    <a:pt x="35" y="64"/>
                    <a:pt x="40" y="63"/>
                  </a:cubicBezTo>
                  <a:cubicBezTo>
                    <a:pt x="41" y="64"/>
                    <a:pt x="41" y="66"/>
                    <a:pt x="42" y="68"/>
                  </a:cubicBezTo>
                  <a:cubicBezTo>
                    <a:pt x="42" y="69"/>
                    <a:pt x="43" y="70"/>
                    <a:pt x="43" y="72"/>
                  </a:cubicBezTo>
                  <a:cubicBezTo>
                    <a:pt x="45" y="77"/>
                    <a:pt x="49" y="82"/>
                    <a:pt x="54" y="84"/>
                  </a:cubicBezTo>
                  <a:cubicBezTo>
                    <a:pt x="54" y="90"/>
                    <a:pt x="54" y="90"/>
                    <a:pt x="54" y="90"/>
                  </a:cubicBezTo>
                  <a:cubicBezTo>
                    <a:pt x="54" y="90"/>
                    <a:pt x="54" y="90"/>
                    <a:pt x="54" y="90"/>
                  </a:cubicBezTo>
                  <a:cubicBezTo>
                    <a:pt x="44" y="99"/>
                    <a:pt x="44" y="99"/>
                    <a:pt x="44" y="99"/>
                  </a:cubicBezTo>
                  <a:cubicBezTo>
                    <a:pt x="19" y="106"/>
                    <a:pt x="19" y="106"/>
                    <a:pt x="19" y="106"/>
                  </a:cubicBezTo>
                  <a:cubicBezTo>
                    <a:pt x="19" y="106"/>
                    <a:pt x="8" y="108"/>
                    <a:pt x="5" y="118"/>
                  </a:cubicBezTo>
                  <a:cubicBezTo>
                    <a:pt x="0" y="137"/>
                    <a:pt x="0" y="137"/>
                    <a:pt x="0" y="137"/>
                  </a:cubicBezTo>
                  <a:cubicBezTo>
                    <a:pt x="58" y="137"/>
                    <a:pt x="58" y="137"/>
                    <a:pt x="58" y="137"/>
                  </a:cubicBezTo>
                  <a:cubicBezTo>
                    <a:pt x="66" y="137"/>
                    <a:pt x="66" y="137"/>
                    <a:pt x="66" y="137"/>
                  </a:cubicBezTo>
                  <a:cubicBezTo>
                    <a:pt x="66" y="137"/>
                    <a:pt x="66" y="137"/>
                    <a:pt x="66" y="137"/>
                  </a:cubicBezTo>
                  <a:cubicBezTo>
                    <a:pt x="67" y="137"/>
                    <a:pt x="67" y="137"/>
                    <a:pt x="67" y="137"/>
                  </a:cubicBezTo>
                  <a:cubicBezTo>
                    <a:pt x="67" y="137"/>
                    <a:pt x="67" y="137"/>
                    <a:pt x="67" y="137"/>
                  </a:cubicBezTo>
                  <a:cubicBezTo>
                    <a:pt x="75" y="137"/>
                    <a:pt x="75" y="137"/>
                    <a:pt x="75" y="137"/>
                  </a:cubicBezTo>
                  <a:cubicBezTo>
                    <a:pt x="133" y="137"/>
                    <a:pt x="133" y="137"/>
                    <a:pt x="133" y="137"/>
                  </a:cubicBezTo>
                  <a:lnTo>
                    <a:pt x="128" y="118"/>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nvGrpSpPr>
            <p:cNvPr id="255" name="Group 254"/>
            <p:cNvGrpSpPr/>
            <p:nvPr/>
          </p:nvGrpSpPr>
          <p:grpSpPr>
            <a:xfrm>
              <a:off x="6310657" y="5467543"/>
              <a:ext cx="359785" cy="249386"/>
              <a:chOff x="6042750" y="5705428"/>
              <a:chExt cx="359785" cy="249386"/>
            </a:xfrm>
          </p:grpSpPr>
          <p:sp>
            <p:nvSpPr>
              <p:cNvPr id="284" name="Freeform 64"/>
              <p:cNvSpPr>
                <a:spLocks/>
              </p:cNvSpPr>
              <p:nvPr/>
            </p:nvSpPr>
            <p:spPr bwMode="auto">
              <a:xfrm>
                <a:off x="6059507" y="5839485"/>
                <a:ext cx="332185" cy="115329"/>
              </a:xfrm>
              <a:custGeom>
                <a:avLst/>
                <a:gdLst>
                  <a:gd name="T0" fmla="*/ 101 w 156"/>
                  <a:gd name="T1" fmla="*/ 1 h 54"/>
                  <a:gd name="T2" fmla="*/ 76 w 156"/>
                  <a:gd name="T3" fmla="*/ 23 h 54"/>
                  <a:gd name="T4" fmla="*/ 52 w 156"/>
                  <a:gd name="T5" fmla="*/ 0 h 54"/>
                  <a:gd name="T6" fmla="*/ 0 w 156"/>
                  <a:gd name="T7" fmla="*/ 54 h 54"/>
                  <a:gd name="T8" fmla="*/ 153 w 156"/>
                  <a:gd name="T9" fmla="*/ 54 h 54"/>
                  <a:gd name="T10" fmla="*/ 156 w 156"/>
                  <a:gd name="T11" fmla="*/ 54 h 54"/>
                  <a:gd name="T12" fmla="*/ 101 w 156"/>
                  <a:gd name="T13" fmla="*/ 1 h 54"/>
                </a:gdLst>
                <a:ahLst/>
                <a:cxnLst>
                  <a:cxn ang="0">
                    <a:pos x="T0" y="T1"/>
                  </a:cxn>
                  <a:cxn ang="0">
                    <a:pos x="T2" y="T3"/>
                  </a:cxn>
                  <a:cxn ang="0">
                    <a:pos x="T4" y="T5"/>
                  </a:cxn>
                  <a:cxn ang="0">
                    <a:pos x="T6" y="T7"/>
                  </a:cxn>
                  <a:cxn ang="0">
                    <a:pos x="T8" y="T9"/>
                  </a:cxn>
                  <a:cxn ang="0">
                    <a:pos x="T10" y="T11"/>
                  </a:cxn>
                  <a:cxn ang="0">
                    <a:pos x="T12" y="T13"/>
                  </a:cxn>
                </a:cxnLst>
                <a:rect l="0" t="0" r="r" b="b"/>
                <a:pathLst>
                  <a:path w="156" h="54">
                    <a:moveTo>
                      <a:pt x="101" y="1"/>
                    </a:moveTo>
                    <a:cubicBezTo>
                      <a:pt x="76" y="23"/>
                      <a:pt x="76" y="23"/>
                      <a:pt x="76" y="23"/>
                    </a:cubicBezTo>
                    <a:cubicBezTo>
                      <a:pt x="52" y="0"/>
                      <a:pt x="52" y="0"/>
                      <a:pt x="52" y="0"/>
                    </a:cubicBezTo>
                    <a:cubicBezTo>
                      <a:pt x="0" y="54"/>
                      <a:pt x="0" y="54"/>
                      <a:pt x="0" y="54"/>
                    </a:cubicBezTo>
                    <a:cubicBezTo>
                      <a:pt x="153" y="54"/>
                      <a:pt x="153" y="54"/>
                      <a:pt x="153" y="54"/>
                    </a:cubicBezTo>
                    <a:cubicBezTo>
                      <a:pt x="154" y="54"/>
                      <a:pt x="155" y="54"/>
                      <a:pt x="156" y="54"/>
                    </a:cubicBezTo>
                    <a:lnTo>
                      <a:pt x="101" y="1"/>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85" name="Freeform 65"/>
              <p:cNvSpPr>
                <a:spLocks/>
              </p:cNvSpPr>
              <p:nvPr/>
            </p:nvSpPr>
            <p:spPr bwMode="auto">
              <a:xfrm>
                <a:off x="6292135" y="5731056"/>
                <a:ext cx="110400" cy="200100"/>
              </a:xfrm>
              <a:custGeom>
                <a:avLst/>
                <a:gdLst>
                  <a:gd name="T0" fmla="*/ 0 w 112"/>
                  <a:gd name="T1" fmla="*/ 97 h 203"/>
                  <a:gd name="T2" fmla="*/ 112 w 112"/>
                  <a:gd name="T3" fmla="*/ 203 h 203"/>
                  <a:gd name="T4" fmla="*/ 112 w 112"/>
                  <a:gd name="T5" fmla="*/ 0 h 203"/>
                  <a:gd name="T6" fmla="*/ 0 w 112"/>
                  <a:gd name="T7" fmla="*/ 97 h 203"/>
                </a:gdLst>
                <a:ahLst/>
                <a:cxnLst>
                  <a:cxn ang="0">
                    <a:pos x="T0" y="T1"/>
                  </a:cxn>
                  <a:cxn ang="0">
                    <a:pos x="T2" y="T3"/>
                  </a:cxn>
                  <a:cxn ang="0">
                    <a:pos x="T4" y="T5"/>
                  </a:cxn>
                  <a:cxn ang="0">
                    <a:pos x="T6" y="T7"/>
                  </a:cxn>
                </a:cxnLst>
                <a:rect l="0" t="0" r="r" b="b"/>
                <a:pathLst>
                  <a:path w="112" h="203">
                    <a:moveTo>
                      <a:pt x="0" y="97"/>
                    </a:moveTo>
                    <a:lnTo>
                      <a:pt x="112" y="203"/>
                    </a:lnTo>
                    <a:lnTo>
                      <a:pt x="112" y="0"/>
                    </a:lnTo>
                    <a:lnTo>
                      <a:pt x="0" y="97"/>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86" name="Freeform 66"/>
              <p:cNvSpPr>
                <a:spLocks/>
              </p:cNvSpPr>
              <p:nvPr/>
            </p:nvSpPr>
            <p:spPr bwMode="auto">
              <a:xfrm>
                <a:off x="6055564" y="5705428"/>
                <a:ext cx="341057" cy="153771"/>
              </a:xfrm>
              <a:custGeom>
                <a:avLst/>
                <a:gdLst>
                  <a:gd name="T0" fmla="*/ 79 w 160"/>
                  <a:gd name="T1" fmla="*/ 72 h 72"/>
                  <a:gd name="T2" fmla="*/ 160 w 160"/>
                  <a:gd name="T3" fmla="*/ 1 h 72"/>
                  <a:gd name="T4" fmla="*/ 155 w 160"/>
                  <a:gd name="T5" fmla="*/ 0 h 72"/>
                  <a:gd name="T6" fmla="*/ 2 w 160"/>
                  <a:gd name="T7" fmla="*/ 0 h 72"/>
                  <a:gd name="T8" fmla="*/ 0 w 160"/>
                  <a:gd name="T9" fmla="*/ 0 h 72"/>
                  <a:gd name="T10" fmla="*/ 79 w 160"/>
                  <a:gd name="T11" fmla="*/ 72 h 72"/>
                </a:gdLst>
                <a:ahLst/>
                <a:cxnLst>
                  <a:cxn ang="0">
                    <a:pos x="T0" y="T1"/>
                  </a:cxn>
                  <a:cxn ang="0">
                    <a:pos x="T2" y="T3"/>
                  </a:cxn>
                  <a:cxn ang="0">
                    <a:pos x="T4" y="T5"/>
                  </a:cxn>
                  <a:cxn ang="0">
                    <a:pos x="T6" y="T7"/>
                  </a:cxn>
                  <a:cxn ang="0">
                    <a:pos x="T8" y="T9"/>
                  </a:cxn>
                  <a:cxn ang="0">
                    <a:pos x="T10" y="T11"/>
                  </a:cxn>
                </a:cxnLst>
                <a:rect l="0" t="0" r="r" b="b"/>
                <a:pathLst>
                  <a:path w="160" h="72">
                    <a:moveTo>
                      <a:pt x="79" y="72"/>
                    </a:moveTo>
                    <a:cubicBezTo>
                      <a:pt x="160" y="1"/>
                      <a:pt x="160" y="1"/>
                      <a:pt x="160" y="1"/>
                    </a:cubicBezTo>
                    <a:cubicBezTo>
                      <a:pt x="159" y="0"/>
                      <a:pt x="157" y="0"/>
                      <a:pt x="155" y="0"/>
                    </a:cubicBezTo>
                    <a:cubicBezTo>
                      <a:pt x="2" y="0"/>
                      <a:pt x="2" y="0"/>
                      <a:pt x="2" y="0"/>
                    </a:cubicBezTo>
                    <a:cubicBezTo>
                      <a:pt x="1" y="0"/>
                      <a:pt x="1" y="0"/>
                      <a:pt x="0" y="0"/>
                    </a:cubicBezTo>
                    <a:lnTo>
                      <a:pt x="79" y="72"/>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87" name="Freeform 67"/>
              <p:cNvSpPr>
                <a:spLocks/>
              </p:cNvSpPr>
              <p:nvPr/>
            </p:nvSpPr>
            <p:spPr bwMode="auto">
              <a:xfrm>
                <a:off x="6042750" y="5723171"/>
                <a:ext cx="110400" cy="216857"/>
              </a:xfrm>
              <a:custGeom>
                <a:avLst/>
                <a:gdLst>
                  <a:gd name="T0" fmla="*/ 0 w 112"/>
                  <a:gd name="T1" fmla="*/ 0 h 220"/>
                  <a:gd name="T2" fmla="*/ 0 w 112"/>
                  <a:gd name="T3" fmla="*/ 220 h 220"/>
                  <a:gd name="T4" fmla="*/ 112 w 112"/>
                  <a:gd name="T5" fmla="*/ 103 h 220"/>
                  <a:gd name="T6" fmla="*/ 0 w 112"/>
                  <a:gd name="T7" fmla="*/ 0 h 220"/>
                </a:gdLst>
                <a:ahLst/>
                <a:cxnLst>
                  <a:cxn ang="0">
                    <a:pos x="T0" y="T1"/>
                  </a:cxn>
                  <a:cxn ang="0">
                    <a:pos x="T2" y="T3"/>
                  </a:cxn>
                  <a:cxn ang="0">
                    <a:pos x="T4" y="T5"/>
                  </a:cxn>
                  <a:cxn ang="0">
                    <a:pos x="T6" y="T7"/>
                  </a:cxn>
                </a:cxnLst>
                <a:rect l="0" t="0" r="r" b="b"/>
                <a:pathLst>
                  <a:path w="112" h="220">
                    <a:moveTo>
                      <a:pt x="0" y="0"/>
                    </a:moveTo>
                    <a:lnTo>
                      <a:pt x="0" y="220"/>
                    </a:lnTo>
                    <a:lnTo>
                      <a:pt x="112" y="103"/>
                    </a:lnTo>
                    <a:lnTo>
                      <a:pt x="0" y="0"/>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grpSp>
          <p:nvGrpSpPr>
            <p:cNvPr id="256" name="Group 255"/>
            <p:cNvGrpSpPr>
              <a:grpSpLocks noChangeAspect="1"/>
            </p:cNvGrpSpPr>
            <p:nvPr/>
          </p:nvGrpSpPr>
          <p:grpSpPr>
            <a:xfrm>
              <a:off x="6678980" y="3477593"/>
              <a:ext cx="361761" cy="260311"/>
              <a:chOff x="7070848" y="3806946"/>
              <a:chExt cx="453428" cy="326271"/>
            </a:xfrm>
          </p:grpSpPr>
          <p:sp>
            <p:nvSpPr>
              <p:cNvPr id="281" name="Freeform 69"/>
              <p:cNvSpPr>
                <a:spLocks noEditPoints="1"/>
              </p:cNvSpPr>
              <p:nvPr/>
            </p:nvSpPr>
            <p:spPr bwMode="auto">
              <a:xfrm>
                <a:off x="7120134" y="3806946"/>
                <a:ext cx="346971" cy="251357"/>
              </a:xfrm>
              <a:custGeom>
                <a:avLst/>
                <a:gdLst>
                  <a:gd name="T0" fmla="*/ 157 w 163"/>
                  <a:gd name="T1" fmla="*/ 0 h 118"/>
                  <a:gd name="T2" fmla="*/ 6 w 163"/>
                  <a:gd name="T3" fmla="*/ 0 h 118"/>
                  <a:gd name="T4" fmla="*/ 0 w 163"/>
                  <a:gd name="T5" fmla="*/ 7 h 118"/>
                  <a:gd name="T6" fmla="*/ 0 w 163"/>
                  <a:gd name="T7" fmla="*/ 112 h 118"/>
                  <a:gd name="T8" fmla="*/ 6 w 163"/>
                  <a:gd name="T9" fmla="*/ 118 h 118"/>
                  <a:gd name="T10" fmla="*/ 157 w 163"/>
                  <a:gd name="T11" fmla="*/ 118 h 118"/>
                  <a:gd name="T12" fmla="*/ 163 w 163"/>
                  <a:gd name="T13" fmla="*/ 112 h 118"/>
                  <a:gd name="T14" fmla="*/ 163 w 163"/>
                  <a:gd name="T15" fmla="*/ 7 h 118"/>
                  <a:gd name="T16" fmla="*/ 157 w 163"/>
                  <a:gd name="T17" fmla="*/ 0 h 118"/>
                  <a:gd name="T18" fmla="*/ 151 w 163"/>
                  <a:gd name="T19" fmla="*/ 106 h 118"/>
                  <a:gd name="T20" fmla="*/ 12 w 163"/>
                  <a:gd name="T21" fmla="*/ 106 h 118"/>
                  <a:gd name="T22" fmla="*/ 12 w 163"/>
                  <a:gd name="T23" fmla="*/ 10 h 118"/>
                  <a:gd name="T24" fmla="*/ 151 w 163"/>
                  <a:gd name="T25" fmla="*/ 10 h 118"/>
                  <a:gd name="T26" fmla="*/ 151 w 163"/>
                  <a:gd name="T27"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3" h="118">
                    <a:moveTo>
                      <a:pt x="157" y="0"/>
                    </a:moveTo>
                    <a:cubicBezTo>
                      <a:pt x="6" y="0"/>
                      <a:pt x="6" y="0"/>
                      <a:pt x="6" y="0"/>
                    </a:cubicBezTo>
                    <a:cubicBezTo>
                      <a:pt x="3" y="0"/>
                      <a:pt x="0" y="3"/>
                      <a:pt x="0" y="7"/>
                    </a:cubicBezTo>
                    <a:cubicBezTo>
                      <a:pt x="0" y="112"/>
                      <a:pt x="0" y="112"/>
                      <a:pt x="0" y="112"/>
                    </a:cubicBezTo>
                    <a:cubicBezTo>
                      <a:pt x="0" y="115"/>
                      <a:pt x="3" y="118"/>
                      <a:pt x="6" y="118"/>
                    </a:cubicBezTo>
                    <a:cubicBezTo>
                      <a:pt x="157" y="118"/>
                      <a:pt x="157" y="118"/>
                      <a:pt x="157" y="118"/>
                    </a:cubicBezTo>
                    <a:cubicBezTo>
                      <a:pt x="160" y="118"/>
                      <a:pt x="163" y="115"/>
                      <a:pt x="163" y="112"/>
                    </a:cubicBezTo>
                    <a:cubicBezTo>
                      <a:pt x="163" y="7"/>
                      <a:pt x="163" y="7"/>
                      <a:pt x="163" y="7"/>
                    </a:cubicBezTo>
                    <a:cubicBezTo>
                      <a:pt x="163" y="3"/>
                      <a:pt x="160" y="0"/>
                      <a:pt x="157" y="0"/>
                    </a:cubicBezTo>
                    <a:close/>
                    <a:moveTo>
                      <a:pt x="151" y="106"/>
                    </a:moveTo>
                    <a:cubicBezTo>
                      <a:pt x="12" y="106"/>
                      <a:pt x="12" y="106"/>
                      <a:pt x="12" y="106"/>
                    </a:cubicBezTo>
                    <a:cubicBezTo>
                      <a:pt x="12" y="10"/>
                      <a:pt x="12" y="10"/>
                      <a:pt x="12" y="10"/>
                    </a:cubicBezTo>
                    <a:cubicBezTo>
                      <a:pt x="151" y="10"/>
                      <a:pt x="151" y="10"/>
                      <a:pt x="151" y="10"/>
                    </a:cubicBezTo>
                    <a:lnTo>
                      <a:pt x="151" y="106"/>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82" name="Rectangle 71"/>
              <p:cNvSpPr>
                <a:spLocks noChangeArrowheads="1"/>
              </p:cNvSpPr>
              <p:nvPr/>
            </p:nvSpPr>
            <p:spPr bwMode="auto">
              <a:xfrm>
                <a:off x="7070848" y="4122374"/>
                <a:ext cx="453428" cy="10843"/>
              </a:xfrm>
              <a:prstGeom prst="rect">
                <a:avLst/>
              </a:pr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83" name="Freeform 72"/>
              <p:cNvSpPr>
                <a:spLocks noEditPoints="1"/>
              </p:cNvSpPr>
              <p:nvPr/>
            </p:nvSpPr>
            <p:spPr bwMode="auto">
              <a:xfrm>
                <a:off x="7070848" y="4069146"/>
                <a:ext cx="453428" cy="44357"/>
              </a:xfrm>
              <a:custGeom>
                <a:avLst/>
                <a:gdLst>
                  <a:gd name="T0" fmla="*/ 402 w 460"/>
                  <a:gd name="T1" fmla="*/ 0 h 45"/>
                  <a:gd name="T2" fmla="*/ 50 w 460"/>
                  <a:gd name="T3" fmla="*/ 0 h 45"/>
                  <a:gd name="T4" fmla="*/ 0 w 460"/>
                  <a:gd name="T5" fmla="*/ 45 h 45"/>
                  <a:gd name="T6" fmla="*/ 460 w 460"/>
                  <a:gd name="T7" fmla="*/ 45 h 45"/>
                  <a:gd name="T8" fmla="*/ 402 w 460"/>
                  <a:gd name="T9" fmla="*/ 0 h 45"/>
                  <a:gd name="T10" fmla="*/ 54 w 460"/>
                  <a:gd name="T11" fmla="*/ 6 h 45"/>
                  <a:gd name="T12" fmla="*/ 402 w 460"/>
                  <a:gd name="T13" fmla="*/ 6 h 45"/>
                  <a:gd name="T14" fmla="*/ 421 w 460"/>
                  <a:gd name="T15" fmla="*/ 24 h 45"/>
                  <a:gd name="T16" fmla="*/ 37 w 460"/>
                  <a:gd name="T17" fmla="*/ 24 h 45"/>
                  <a:gd name="T18" fmla="*/ 54 w 460"/>
                  <a:gd name="T19" fmla="*/ 6 h 45"/>
                  <a:gd name="T20" fmla="*/ 171 w 460"/>
                  <a:gd name="T21" fmla="*/ 39 h 45"/>
                  <a:gd name="T22" fmla="*/ 179 w 460"/>
                  <a:gd name="T23" fmla="*/ 26 h 45"/>
                  <a:gd name="T24" fmla="*/ 276 w 460"/>
                  <a:gd name="T25" fmla="*/ 26 h 45"/>
                  <a:gd name="T26" fmla="*/ 287 w 460"/>
                  <a:gd name="T27" fmla="*/ 39 h 45"/>
                  <a:gd name="T28" fmla="*/ 171 w 460"/>
                  <a:gd name="T29"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0" h="45">
                    <a:moveTo>
                      <a:pt x="402" y="0"/>
                    </a:moveTo>
                    <a:lnTo>
                      <a:pt x="50" y="0"/>
                    </a:lnTo>
                    <a:lnTo>
                      <a:pt x="0" y="45"/>
                    </a:lnTo>
                    <a:lnTo>
                      <a:pt x="460" y="45"/>
                    </a:lnTo>
                    <a:lnTo>
                      <a:pt x="402" y="0"/>
                    </a:lnTo>
                    <a:close/>
                    <a:moveTo>
                      <a:pt x="54" y="6"/>
                    </a:moveTo>
                    <a:lnTo>
                      <a:pt x="402" y="6"/>
                    </a:lnTo>
                    <a:lnTo>
                      <a:pt x="421" y="24"/>
                    </a:lnTo>
                    <a:lnTo>
                      <a:pt x="37" y="24"/>
                    </a:lnTo>
                    <a:lnTo>
                      <a:pt x="54" y="6"/>
                    </a:lnTo>
                    <a:close/>
                    <a:moveTo>
                      <a:pt x="171" y="39"/>
                    </a:moveTo>
                    <a:lnTo>
                      <a:pt x="179" y="26"/>
                    </a:lnTo>
                    <a:lnTo>
                      <a:pt x="276" y="26"/>
                    </a:lnTo>
                    <a:lnTo>
                      <a:pt x="287" y="39"/>
                    </a:lnTo>
                    <a:lnTo>
                      <a:pt x="171" y="39"/>
                    </a:ln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sp>
          <p:nvSpPr>
            <p:cNvPr id="257" name="Freeform 76"/>
            <p:cNvSpPr>
              <a:spLocks noEditPoints="1"/>
            </p:cNvSpPr>
            <p:nvPr/>
          </p:nvSpPr>
          <p:spPr bwMode="auto">
            <a:xfrm>
              <a:off x="4821588" y="4095455"/>
              <a:ext cx="309514" cy="346971"/>
            </a:xfrm>
            <a:custGeom>
              <a:avLst/>
              <a:gdLst>
                <a:gd name="T0" fmla="*/ 121 w 145"/>
                <a:gd name="T1" fmla="*/ 128 h 163"/>
                <a:gd name="T2" fmla="*/ 145 w 145"/>
                <a:gd name="T3" fmla="*/ 128 h 163"/>
                <a:gd name="T4" fmla="*/ 142 w 145"/>
                <a:gd name="T5" fmla="*/ 131 h 163"/>
                <a:gd name="T6" fmla="*/ 113 w 145"/>
                <a:gd name="T7" fmla="*/ 154 h 163"/>
                <a:gd name="T8" fmla="*/ 75 w 145"/>
                <a:gd name="T9" fmla="*/ 163 h 163"/>
                <a:gd name="T10" fmla="*/ 22 w 145"/>
                <a:gd name="T11" fmla="*/ 141 h 163"/>
                <a:gd name="T12" fmla="*/ 0 w 145"/>
                <a:gd name="T13" fmla="*/ 84 h 163"/>
                <a:gd name="T14" fmla="*/ 20 w 145"/>
                <a:gd name="T15" fmla="*/ 25 h 163"/>
                <a:gd name="T16" fmla="*/ 76 w 145"/>
                <a:gd name="T17" fmla="*/ 0 h 163"/>
                <a:gd name="T18" fmla="*/ 111 w 145"/>
                <a:gd name="T19" fmla="*/ 9 h 163"/>
                <a:gd name="T20" fmla="*/ 143 w 145"/>
                <a:gd name="T21" fmla="*/ 68 h 163"/>
                <a:gd name="T22" fmla="*/ 130 w 145"/>
                <a:gd name="T23" fmla="*/ 110 h 163"/>
                <a:gd name="T24" fmla="*/ 94 w 145"/>
                <a:gd name="T25" fmla="*/ 131 h 163"/>
                <a:gd name="T26" fmla="*/ 79 w 145"/>
                <a:gd name="T27" fmla="*/ 121 h 163"/>
                <a:gd name="T28" fmla="*/ 70 w 145"/>
                <a:gd name="T29" fmla="*/ 128 h 163"/>
                <a:gd name="T30" fmla="*/ 58 w 145"/>
                <a:gd name="T31" fmla="*/ 131 h 163"/>
                <a:gd name="T32" fmla="*/ 34 w 145"/>
                <a:gd name="T33" fmla="*/ 118 h 163"/>
                <a:gd name="T34" fmla="*/ 26 w 145"/>
                <a:gd name="T35" fmla="*/ 90 h 163"/>
                <a:gd name="T36" fmla="*/ 36 w 145"/>
                <a:gd name="T37" fmla="*/ 51 h 163"/>
                <a:gd name="T38" fmla="*/ 67 w 145"/>
                <a:gd name="T39" fmla="*/ 29 h 163"/>
                <a:gd name="T40" fmla="*/ 88 w 145"/>
                <a:gd name="T41" fmla="*/ 40 h 163"/>
                <a:gd name="T42" fmla="*/ 89 w 145"/>
                <a:gd name="T43" fmla="*/ 32 h 163"/>
                <a:gd name="T44" fmla="*/ 110 w 145"/>
                <a:gd name="T45" fmla="*/ 32 h 163"/>
                <a:gd name="T46" fmla="*/ 98 w 145"/>
                <a:gd name="T47" fmla="*/ 110 h 163"/>
                <a:gd name="T48" fmla="*/ 100 w 145"/>
                <a:gd name="T49" fmla="*/ 112 h 163"/>
                <a:gd name="T50" fmla="*/ 113 w 145"/>
                <a:gd name="T51" fmla="*/ 105 h 163"/>
                <a:gd name="T52" fmla="*/ 122 w 145"/>
                <a:gd name="T53" fmla="*/ 92 h 163"/>
                <a:gd name="T54" fmla="*/ 126 w 145"/>
                <a:gd name="T55" fmla="*/ 68 h 163"/>
                <a:gd name="T56" fmla="*/ 113 w 145"/>
                <a:gd name="T57" fmla="*/ 31 h 163"/>
                <a:gd name="T58" fmla="*/ 77 w 145"/>
                <a:gd name="T59" fmla="*/ 17 h 163"/>
                <a:gd name="T60" fmla="*/ 34 w 145"/>
                <a:gd name="T61" fmla="*/ 35 h 163"/>
                <a:gd name="T62" fmla="*/ 17 w 145"/>
                <a:gd name="T63" fmla="*/ 83 h 163"/>
                <a:gd name="T64" fmla="*/ 32 w 145"/>
                <a:gd name="T65" fmla="*/ 128 h 163"/>
                <a:gd name="T66" fmla="*/ 75 w 145"/>
                <a:gd name="T67" fmla="*/ 146 h 163"/>
                <a:gd name="T68" fmla="*/ 121 w 145"/>
                <a:gd name="T69" fmla="*/ 129 h 163"/>
                <a:gd name="T70" fmla="*/ 121 w 145"/>
                <a:gd name="T71" fmla="*/ 128 h 163"/>
                <a:gd name="T72" fmla="*/ 78 w 145"/>
                <a:gd name="T73" fmla="*/ 91 h 163"/>
                <a:gd name="T74" fmla="*/ 82 w 145"/>
                <a:gd name="T75" fmla="*/ 64 h 163"/>
                <a:gd name="T76" fmla="*/ 79 w 145"/>
                <a:gd name="T77" fmla="*/ 53 h 163"/>
                <a:gd name="T78" fmla="*/ 70 w 145"/>
                <a:gd name="T79" fmla="*/ 47 h 163"/>
                <a:gd name="T80" fmla="*/ 53 w 145"/>
                <a:gd name="T81" fmla="*/ 66 h 163"/>
                <a:gd name="T82" fmla="*/ 48 w 145"/>
                <a:gd name="T83" fmla="*/ 95 h 163"/>
                <a:gd name="T84" fmla="*/ 51 w 145"/>
                <a:gd name="T85" fmla="*/ 107 h 163"/>
                <a:gd name="T86" fmla="*/ 60 w 145"/>
                <a:gd name="T87" fmla="*/ 114 h 163"/>
                <a:gd name="T88" fmla="*/ 73 w 145"/>
                <a:gd name="T89" fmla="*/ 106 h 163"/>
                <a:gd name="T90" fmla="*/ 78 w 145"/>
                <a:gd name="T91" fmla="*/ 9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5" h="163">
                  <a:moveTo>
                    <a:pt x="121" y="128"/>
                  </a:moveTo>
                  <a:cubicBezTo>
                    <a:pt x="145" y="128"/>
                    <a:pt x="145" y="128"/>
                    <a:pt x="145" y="128"/>
                  </a:cubicBezTo>
                  <a:cubicBezTo>
                    <a:pt x="142" y="131"/>
                    <a:pt x="142" y="131"/>
                    <a:pt x="142" y="131"/>
                  </a:cubicBezTo>
                  <a:cubicBezTo>
                    <a:pt x="135" y="141"/>
                    <a:pt x="125" y="149"/>
                    <a:pt x="113" y="154"/>
                  </a:cubicBezTo>
                  <a:cubicBezTo>
                    <a:pt x="101" y="160"/>
                    <a:pt x="88" y="163"/>
                    <a:pt x="75" y="163"/>
                  </a:cubicBezTo>
                  <a:cubicBezTo>
                    <a:pt x="54" y="163"/>
                    <a:pt x="36" y="155"/>
                    <a:pt x="22" y="141"/>
                  </a:cubicBezTo>
                  <a:cubicBezTo>
                    <a:pt x="7" y="127"/>
                    <a:pt x="0" y="108"/>
                    <a:pt x="0" y="84"/>
                  </a:cubicBezTo>
                  <a:cubicBezTo>
                    <a:pt x="0" y="60"/>
                    <a:pt x="7" y="41"/>
                    <a:pt x="20" y="25"/>
                  </a:cubicBezTo>
                  <a:cubicBezTo>
                    <a:pt x="34" y="8"/>
                    <a:pt x="52" y="0"/>
                    <a:pt x="76" y="0"/>
                  </a:cubicBezTo>
                  <a:cubicBezTo>
                    <a:pt x="91" y="0"/>
                    <a:pt x="102" y="3"/>
                    <a:pt x="111" y="9"/>
                  </a:cubicBezTo>
                  <a:cubicBezTo>
                    <a:pt x="132" y="22"/>
                    <a:pt x="143" y="41"/>
                    <a:pt x="143" y="68"/>
                  </a:cubicBezTo>
                  <a:cubicBezTo>
                    <a:pt x="143" y="83"/>
                    <a:pt x="139" y="97"/>
                    <a:pt x="130" y="110"/>
                  </a:cubicBezTo>
                  <a:cubicBezTo>
                    <a:pt x="121" y="124"/>
                    <a:pt x="109" y="131"/>
                    <a:pt x="94" y="131"/>
                  </a:cubicBezTo>
                  <a:cubicBezTo>
                    <a:pt x="87" y="131"/>
                    <a:pt x="81" y="127"/>
                    <a:pt x="79" y="121"/>
                  </a:cubicBezTo>
                  <a:cubicBezTo>
                    <a:pt x="76" y="124"/>
                    <a:pt x="72" y="127"/>
                    <a:pt x="70" y="128"/>
                  </a:cubicBezTo>
                  <a:cubicBezTo>
                    <a:pt x="66" y="130"/>
                    <a:pt x="63" y="131"/>
                    <a:pt x="58" y="131"/>
                  </a:cubicBezTo>
                  <a:cubicBezTo>
                    <a:pt x="47" y="131"/>
                    <a:pt x="39" y="126"/>
                    <a:pt x="34" y="118"/>
                  </a:cubicBezTo>
                  <a:cubicBezTo>
                    <a:pt x="29" y="110"/>
                    <a:pt x="26" y="101"/>
                    <a:pt x="26" y="90"/>
                  </a:cubicBezTo>
                  <a:cubicBezTo>
                    <a:pt x="26" y="76"/>
                    <a:pt x="29" y="63"/>
                    <a:pt x="36" y="51"/>
                  </a:cubicBezTo>
                  <a:cubicBezTo>
                    <a:pt x="44" y="36"/>
                    <a:pt x="54" y="29"/>
                    <a:pt x="67" y="29"/>
                  </a:cubicBezTo>
                  <a:cubicBezTo>
                    <a:pt x="76" y="29"/>
                    <a:pt x="82" y="33"/>
                    <a:pt x="88" y="40"/>
                  </a:cubicBezTo>
                  <a:cubicBezTo>
                    <a:pt x="89" y="32"/>
                    <a:pt x="89" y="32"/>
                    <a:pt x="89" y="32"/>
                  </a:cubicBezTo>
                  <a:cubicBezTo>
                    <a:pt x="110" y="32"/>
                    <a:pt x="110" y="32"/>
                    <a:pt x="110" y="32"/>
                  </a:cubicBezTo>
                  <a:cubicBezTo>
                    <a:pt x="98" y="110"/>
                    <a:pt x="98" y="110"/>
                    <a:pt x="98" y="110"/>
                  </a:cubicBezTo>
                  <a:cubicBezTo>
                    <a:pt x="98" y="111"/>
                    <a:pt x="99" y="112"/>
                    <a:pt x="100" y="112"/>
                  </a:cubicBezTo>
                  <a:cubicBezTo>
                    <a:pt x="104" y="112"/>
                    <a:pt x="108" y="110"/>
                    <a:pt x="113" y="105"/>
                  </a:cubicBezTo>
                  <a:cubicBezTo>
                    <a:pt x="116" y="101"/>
                    <a:pt x="119" y="97"/>
                    <a:pt x="122" y="92"/>
                  </a:cubicBezTo>
                  <a:cubicBezTo>
                    <a:pt x="125" y="85"/>
                    <a:pt x="126" y="77"/>
                    <a:pt x="126" y="68"/>
                  </a:cubicBezTo>
                  <a:cubicBezTo>
                    <a:pt x="126" y="53"/>
                    <a:pt x="122" y="41"/>
                    <a:pt x="113" y="31"/>
                  </a:cubicBezTo>
                  <a:cubicBezTo>
                    <a:pt x="104" y="22"/>
                    <a:pt x="92" y="17"/>
                    <a:pt x="77" y="17"/>
                  </a:cubicBezTo>
                  <a:cubicBezTo>
                    <a:pt x="59" y="17"/>
                    <a:pt x="45" y="23"/>
                    <a:pt x="34" y="35"/>
                  </a:cubicBezTo>
                  <a:cubicBezTo>
                    <a:pt x="23" y="47"/>
                    <a:pt x="17" y="63"/>
                    <a:pt x="17" y="83"/>
                  </a:cubicBezTo>
                  <a:cubicBezTo>
                    <a:pt x="17" y="101"/>
                    <a:pt x="22" y="116"/>
                    <a:pt x="32" y="128"/>
                  </a:cubicBezTo>
                  <a:cubicBezTo>
                    <a:pt x="43" y="140"/>
                    <a:pt x="57" y="146"/>
                    <a:pt x="75" y="146"/>
                  </a:cubicBezTo>
                  <a:cubicBezTo>
                    <a:pt x="92" y="146"/>
                    <a:pt x="107" y="140"/>
                    <a:pt x="121" y="129"/>
                  </a:cubicBezTo>
                  <a:lnTo>
                    <a:pt x="121" y="128"/>
                  </a:lnTo>
                  <a:close/>
                  <a:moveTo>
                    <a:pt x="78" y="91"/>
                  </a:moveTo>
                  <a:cubicBezTo>
                    <a:pt x="80" y="82"/>
                    <a:pt x="82" y="73"/>
                    <a:pt x="82" y="64"/>
                  </a:cubicBezTo>
                  <a:cubicBezTo>
                    <a:pt x="82" y="59"/>
                    <a:pt x="81" y="56"/>
                    <a:pt x="79" y="53"/>
                  </a:cubicBezTo>
                  <a:cubicBezTo>
                    <a:pt x="77" y="49"/>
                    <a:pt x="74" y="47"/>
                    <a:pt x="70" y="47"/>
                  </a:cubicBezTo>
                  <a:cubicBezTo>
                    <a:pt x="63" y="47"/>
                    <a:pt x="57" y="53"/>
                    <a:pt x="53" y="66"/>
                  </a:cubicBezTo>
                  <a:cubicBezTo>
                    <a:pt x="50" y="76"/>
                    <a:pt x="48" y="85"/>
                    <a:pt x="48" y="95"/>
                  </a:cubicBezTo>
                  <a:cubicBezTo>
                    <a:pt x="48" y="100"/>
                    <a:pt x="49" y="104"/>
                    <a:pt x="51" y="107"/>
                  </a:cubicBezTo>
                  <a:cubicBezTo>
                    <a:pt x="53" y="112"/>
                    <a:pt x="56" y="114"/>
                    <a:pt x="60" y="114"/>
                  </a:cubicBezTo>
                  <a:cubicBezTo>
                    <a:pt x="65" y="114"/>
                    <a:pt x="69" y="111"/>
                    <a:pt x="73" y="106"/>
                  </a:cubicBezTo>
                  <a:cubicBezTo>
                    <a:pt x="74" y="103"/>
                    <a:pt x="76" y="98"/>
                    <a:pt x="78" y="91"/>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nvGrpSpPr>
            <p:cNvPr id="258" name="Group 257"/>
            <p:cNvGrpSpPr/>
            <p:nvPr/>
          </p:nvGrpSpPr>
          <p:grpSpPr>
            <a:xfrm>
              <a:off x="6866437" y="4864894"/>
              <a:ext cx="370628" cy="368656"/>
              <a:chOff x="7111262" y="5105129"/>
              <a:chExt cx="370628" cy="368656"/>
            </a:xfrm>
          </p:grpSpPr>
          <p:sp>
            <p:nvSpPr>
              <p:cNvPr id="276" name="Freeform 78"/>
              <p:cNvSpPr>
                <a:spLocks noEditPoints="1"/>
              </p:cNvSpPr>
              <p:nvPr/>
            </p:nvSpPr>
            <p:spPr bwMode="auto">
              <a:xfrm>
                <a:off x="7111262" y="5244115"/>
                <a:ext cx="370628" cy="88714"/>
              </a:xfrm>
              <a:custGeom>
                <a:avLst/>
                <a:gdLst>
                  <a:gd name="T0" fmla="*/ 87 w 174"/>
                  <a:gd name="T1" fmla="*/ 42 h 42"/>
                  <a:gd name="T2" fmla="*/ 0 w 174"/>
                  <a:gd name="T3" fmla="*/ 21 h 42"/>
                  <a:gd name="T4" fmla="*/ 87 w 174"/>
                  <a:gd name="T5" fmla="*/ 0 h 42"/>
                  <a:gd name="T6" fmla="*/ 174 w 174"/>
                  <a:gd name="T7" fmla="*/ 21 h 42"/>
                  <a:gd name="T8" fmla="*/ 87 w 174"/>
                  <a:gd name="T9" fmla="*/ 42 h 42"/>
                  <a:gd name="T10" fmla="*/ 87 w 174"/>
                  <a:gd name="T11" fmla="*/ 7 h 42"/>
                  <a:gd name="T12" fmla="*/ 29 w 174"/>
                  <a:gd name="T13" fmla="*/ 12 h 42"/>
                  <a:gd name="T14" fmla="*/ 7 w 174"/>
                  <a:gd name="T15" fmla="*/ 21 h 42"/>
                  <a:gd name="T16" fmla="*/ 29 w 174"/>
                  <a:gd name="T17" fmla="*/ 30 h 42"/>
                  <a:gd name="T18" fmla="*/ 87 w 174"/>
                  <a:gd name="T19" fmla="*/ 35 h 42"/>
                  <a:gd name="T20" fmla="*/ 145 w 174"/>
                  <a:gd name="T21" fmla="*/ 30 h 42"/>
                  <a:gd name="T22" fmla="*/ 167 w 174"/>
                  <a:gd name="T23" fmla="*/ 21 h 42"/>
                  <a:gd name="T24" fmla="*/ 145 w 174"/>
                  <a:gd name="T25" fmla="*/ 12 h 42"/>
                  <a:gd name="T26" fmla="*/ 87 w 174"/>
                  <a:gd name="T27"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42">
                    <a:moveTo>
                      <a:pt x="87" y="42"/>
                    </a:moveTo>
                    <a:cubicBezTo>
                      <a:pt x="57" y="42"/>
                      <a:pt x="0" y="38"/>
                      <a:pt x="0" y="21"/>
                    </a:cubicBezTo>
                    <a:cubicBezTo>
                      <a:pt x="0" y="5"/>
                      <a:pt x="57" y="0"/>
                      <a:pt x="87" y="0"/>
                    </a:cubicBezTo>
                    <a:cubicBezTo>
                      <a:pt x="117" y="0"/>
                      <a:pt x="174" y="5"/>
                      <a:pt x="174" y="21"/>
                    </a:cubicBezTo>
                    <a:cubicBezTo>
                      <a:pt x="174" y="38"/>
                      <a:pt x="117" y="42"/>
                      <a:pt x="87" y="42"/>
                    </a:cubicBezTo>
                    <a:close/>
                    <a:moveTo>
                      <a:pt x="87" y="7"/>
                    </a:moveTo>
                    <a:cubicBezTo>
                      <a:pt x="65" y="7"/>
                      <a:pt x="44" y="9"/>
                      <a:pt x="29" y="12"/>
                    </a:cubicBezTo>
                    <a:cubicBezTo>
                      <a:pt x="11" y="16"/>
                      <a:pt x="7" y="20"/>
                      <a:pt x="7" y="21"/>
                    </a:cubicBezTo>
                    <a:cubicBezTo>
                      <a:pt x="7" y="22"/>
                      <a:pt x="11" y="26"/>
                      <a:pt x="29" y="30"/>
                    </a:cubicBezTo>
                    <a:cubicBezTo>
                      <a:pt x="44" y="33"/>
                      <a:pt x="65" y="35"/>
                      <a:pt x="87" y="35"/>
                    </a:cubicBezTo>
                    <a:cubicBezTo>
                      <a:pt x="109" y="35"/>
                      <a:pt x="130" y="33"/>
                      <a:pt x="145" y="30"/>
                    </a:cubicBezTo>
                    <a:cubicBezTo>
                      <a:pt x="163" y="26"/>
                      <a:pt x="167" y="22"/>
                      <a:pt x="167" y="21"/>
                    </a:cubicBezTo>
                    <a:cubicBezTo>
                      <a:pt x="167" y="20"/>
                      <a:pt x="163" y="16"/>
                      <a:pt x="145" y="12"/>
                    </a:cubicBezTo>
                    <a:cubicBezTo>
                      <a:pt x="130" y="9"/>
                      <a:pt x="109" y="7"/>
                      <a:pt x="87" y="7"/>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77" name="Freeform 79"/>
              <p:cNvSpPr>
                <a:spLocks noEditPoints="1"/>
              </p:cNvSpPr>
              <p:nvPr/>
            </p:nvSpPr>
            <p:spPr bwMode="auto">
              <a:xfrm>
                <a:off x="7111262" y="5167229"/>
                <a:ext cx="370628" cy="242485"/>
              </a:xfrm>
              <a:custGeom>
                <a:avLst/>
                <a:gdLst>
                  <a:gd name="T0" fmla="*/ 87 w 174"/>
                  <a:gd name="T1" fmla="*/ 114 h 114"/>
                  <a:gd name="T2" fmla="*/ 0 w 174"/>
                  <a:gd name="T3" fmla="*/ 57 h 114"/>
                  <a:gd name="T4" fmla="*/ 87 w 174"/>
                  <a:gd name="T5" fmla="*/ 0 h 114"/>
                  <a:gd name="T6" fmla="*/ 174 w 174"/>
                  <a:gd name="T7" fmla="*/ 57 h 114"/>
                  <a:gd name="T8" fmla="*/ 87 w 174"/>
                  <a:gd name="T9" fmla="*/ 114 h 114"/>
                  <a:gd name="T10" fmla="*/ 87 w 174"/>
                  <a:gd name="T11" fmla="*/ 7 h 114"/>
                  <a:gd name="T12" fmla="*/ 7 w 174"/>
                  <a:gd name="T13" fmla="*/ 57 h 114"/>
                  <a:gd name="T14" fmla="*/ 87 w 174"/>
                  <a:gd name="T15" fmla="*/ 107 h 114"/>
                  <a:gd name="T16" fmla="*/ 167 w 174"/>
                  <a:gd name="T17" fmla="*/ 57 h 114"/>
                  <a:gd name="T18" fmla="*/ 87 w 174"/>
                  <a:gd name="T19"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14">
                    <a:moveTo>
                      <a:pt x="87" y="114"/>
                    </a:moveTo>
                    <a:cubicBezTo>
                      <a:pt x="39" y="114"/>
                      <a:pt x="0" y="88"/>
                      <a:pt x="0" y="57"/>
                    </a:cubicBezTo>
                    <a:cubicBezTo>
                      <a:pt x="0" y="26"/>
                      <a:pt x="39" y="0"/>
                      <a:pt x="87" y="0"/>
                    </a:cubicBezTo>
                    <a:cubicBezTo>
                      <a:pt x="135" y="0"/>
                      <a:pt x="174" y="26"/>
                      <a:pt x="174" y="57"/>
                    </a:cubicBezTo>
                    <a:cubicBezTo>
                      <a:pt x="174" y="88"/>
                      <a:pt x="135" y="114"/>
                      <a:pt x="87" y="114"/>
                    </a:cubicBezTo>
                    <a:close/>
                    <a:moveTo>
                      <a:pt x="87" y="7"/>
                    </a:moveTo>
                    <a:cubicBezTo>
                      <a:pt x="43" y="7"/>
                      <a:pt x="7" y="30"/>
                      <a:pt x="7" y="57"/>
                    </a:cubicBezTo>
                    <a:cubicBezTo>
                      <a:pt x="7" y="85"/>
                      <a:pt x="43" y="107"/>
                      <a:pt x="87" y="107"/>
                    </a:cubicBezTo>
                    <a:cubicBezTo>
                      <a:pt x="131" y="107"/>
                      <a:pt x="167" y="85"/>
                      <a:pt x="167" y="57"/>
                    </a:cubicBezTo>
                    <a:cubicBezTo>
                      <a:pt x="167" y="30"/>
                      <a:pt x="131" y="7"/>
                      <a:pt x="87" y="7"/>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78" name="Freeform 80"/>
              <p:cNvSpPr>
                <a:spLocks noEditPoints="1"/>
              </p:cNvSpPr>
              <p:nvPr/>
            </p:nvSpPr>
            <p:spPr bwMode="auto">
              <a:xfrm>
                <a:off x="7249262" y="5105129"/>
                <a:ext cx="93642" cy="368656"/>
              </a:xfrm>
              <a:custGeom>
                <a:avLst/>
                <a:gdLst>
                  <a:gd name="T0" fmla="*/ 22 w 44"/>
                  <a:gd name="T1" fmla="*/ 173 h 173"/>
                  <a:gd name="T2" fmla="*/ 0 w 44"/>
                  <a:gd name="T3" fmla="*/ 86 h 173"/>
                  <a:gd name="T4" fmla="*/ 22 w 44"/>
                  <a:gd name="T5" fmla="*/ 0 h 173"/>
                  <a:gd name="T6" fmla="*/ 44 w 44"/>
                  <a:gd name="T7" fmla="*/ 86 h 173"/>
                  <a:gd name="T8" fmla="*/ 22 w 44"/>
                  <a:gd name="T9" fmla="*/ 173 h 173"/>
                  <a:gd name="T10" fmla="*/ 22 w 44"/>
                  <a:gd name="T11" fmla="*/ 6 h 173"/>
                  <a:gd name="T12" fmla="*/ 7 w 44"/>
                  <a:gd name="T13" fmla="*/ 86 h 173"/>
                  <a:gd name="T14" fmla="*/ 22 w 44"/>
                  <a:gd name="T15" fmla="*/ 166 h 173"/>
                  <a:gd name="T16" fmla="*/ 37 w 44"/>
                  <a:gd name="T17" fmla="*/ 86 h 173"/>
                  <a:gd name="T18" fmla="*/ 22 w 44"/>
                  <a:gd name="T19" fmla="*/ 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173">
                    <a:moveTo>
                      <a:pt x="22" y="173"/>
                    </a:moveTo>
                    <a:cubicBezTo>
                      <a:pt x="4" y="173"/>
                      <a:pt x="0" y="116"/>
                      <a:pt x="0" y="86"/>
                    </a:cubicBezTo>
                    <a:cubicBezTo>
                      <a:pt x="0" y="56"/>
                      <a:pt x="4" y="0"/>
                      <a:pt x="22" y="0"/>
                    </a:cubicBezTo>
                    <a:cubicBezTo>
                      <a:pt x="40" y="0"/>
                      <a:pt x="44" y="56"/>
                      <a:pt x="44" y="86"/>
                    </a:cubicBezTo>
                    <a:cubicBezTo>
                      <a:pt x="44" y="116"/>
                      <a:pt x="40" y="173"/>
                      <a:pt x="22" y="173"/>
                    </a:cubicBezTo>
                    <a:close/>
                    <a:moveTo>
                      <a:pt x="22" y="6"/>
                    </a:moveTo>
                    <a:cubicBezTo>
                      <a:pt x="17" y="6"/>
                      <a:pt x="7" y="35"/>
                      <a:pt x="7" y="86"/>
                    </a:cubicBezTo>
                    <a:cubicBezTo>
                      <a:pt x="7" y="138"/>
                      <a:pt x="17" y="166"/>
                      <a:pt x="22" y="166"/>
                    </a:cubicBezTo>
                    <a:cubicBezTo>
                      <a:pt x="27" y="166"/>
                      <a:pt x="37" y="138"/>
                      <a:pt x="37" y="86"/>
                    </a:cubicBezTo>
                    <a:cubicBezTo>
                      <a:pt x="37" y="35"/>
                      <a:pt x="27" y="6"/>
                      <a:pt x="22" y="6"/>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79" name="Freeform 81"/>
              <p:cNvSpPr>
                <a:spLocks noEditPoints="1"/>
              </p:cNvSpPr>
              <p:nvPr/>
            </p:nvSpPr>
            <p:spPr bwMode="auto">
              <a:xfrm>
                <a:off x="7175334" y="5105129"/>
                <a:ext cx="242485" cy="368656"/>
              </a:xfrm>
              <a:custGeom>
                <a:avLst/>
                <a:gdLst>
                  <a:gd name="T0" fmla="*/ 57 w 114"/>
                  <a:gd name="T1" fmla="*/ 173 h 173"/>
                  <a:gd name="T2" fmla="*/ 0 w 114"/>
                  <a:gd name="T3" fmla="*/ 86 h 173"/>
                  <a:gd name="T4" fmla="*/ 57 w 114"/>
                  <a:gd name="T5" fmla="*/ 0 h 173"/>
                  <a:gd name="T6" fmla="*/ 114 w 114"/>
                  <a:gd name="T7" fmla="*/ 86 h 173"/>
                  <a:gd name="T8" fmla="*/ 57 w 114"/>
                  <a:gd name="T9" fmla="*/ 173 h 173"/>
                  <a:gd name="T10" fmla="*/ 57 w 114"/>
                  <a:gd name="T11" fmla="*/ 6 h 173"/>
                  <a:gd name="T12" fmla="*/ 7 w 114"/>
                  <a:gd name="T13" fmla="*/ 86 h 173"/>
                  <a:gd name="T14" fmla="*/ 57 w 114"/>
                  <a:gd name="T15" fmla="*/ 166 h 173"/>
                  <a:gd name="T16" fmla="*/ 107 w 114"/>
                  <a:gd name="T17" fmla="*/ 86 h 173"/>
                  <a:gd name="T18" fmla="*/ 57 w 114"/>
                  <a:gd name="T19" fmla="*/ 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73">
                    <a:moveTo>
                      <a:pt x="57" y="173"/>
                    </a:moveTo>
                    <a:cubicBezTo>
                      <a:pt x="26" y="173"/>
                      <a:pt x="0" y="134"/>
                      <a:pt x="0" y="86"/>
                    </a:cubicBezTo>
                    <a:cubicBezTo>
                      <a:pt x="0" y="38"/>
                      <a:pt x="26" y="0"/>
                      <a:pt x="57" y="0"/>
                    </a:cubicBezTo>
                    <a:cubicBezTo>
                      <a:pt x="88" y="0"/>
                      <a:pt x="114" y="38"/>
                      <a:pt x="114" y="86"/>
                    </a:cubicBezTo>
                    <a:cubicBezTo>
                      <a:pt x="114" y="134"/>
                      <a:pt x="88" y="173"/>
                      <a:pt x="57" y="173"/>
                    </a:cubicBezTo>
                    <a:close/>
                    <a:moveTo>
                      <a:pt x="57" y="6"/>
                    </a:moveTo>
                    <a:cubicBezTo>
                      <a:pt x="30" y="6"/>
                      <a:pt x="7" y="42"/>
                      <a:pt x="7" y="86"/>
                    </a:cubicBezTo>
                    <a:cubicBezTo>
                      <a:pt x="7" y="130"/>
                      <a:pt x="30" y="166"/>
                      <a:pt x="57" y="166"/>
                    </a:cubicBezTo>
                    <a:cubicBezTo>
                      <a:pt x="85" y="166"/>
                      <a:pt x="107" y="130"/>
                      <a:pt x="107" y="86"/>
                    </a:cubicBezTo>
                    <a:cubicBezTo>
                      <a:pt x="107" y="42"/>
                      <a:pt x="85" y="6"/>
                      <a:pt x="57" y="6"/>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80" name="Freeform 82"/>
              <p:cNvSpPr>
                <a:spLocks noEditPoints="1"/>
              </p:cNvSpPr>
              <p:nvPr/>
            </p:nvSpPr>
            <p:spPr bwMode="auto">
              <a:xfrm>
                <a:off x="7111262" y="5105129"/>
                <a:ext cx="370628" cy="368656"/>
              </a:xfrm>
              <a:custGeom>
                <a:avLst/>
                <a:gdLst>
                  <a:gd name="T0" fmla="*/ 87 w 174"/>
                  <a:gd name="T1" fmla="*/ 173 h 173"/>
                  <a:gd name="T2" fmla="*/ 0 w 174"/>
                  <a:gd name="T3" fmla="*/ 86 h 173"/>
                  <a:gd name="T4" fmla="*/ 87 w 174"/>
                  <a:gd name="T5" fmla="*/ 0 h 173"/>
                  <a:gd name="T6" fmla="*/ 174 w 174"/>
                  <a:gd name="T7" fmla="*/ 86 h 173"/>
                  <a:gd name="T8" fmla="*/ 87 w 174"/>
                  <a:gd name="T9" fmla="*/ 173 h 173"/>
                  <a:gd name="T10" fmla="*/ 87 w 174"/>
                  <a:gd name="T11" fmla="*/ 6 h 173"/>
                  <a:gd name="T12" fmla="*/ 7 w 174"/>
                  <a:gd name="T13" fmla="*/ 86 h 173"/>
                  <a:gd name="T14" fmla="*/ 87 w 174"/>
                  <a:gd name="T15" fmla="*/ 166 h 173"/>
                  <a:gd name="T16" fmla="*/ 167 w 174"/>
                  <a:gd name="T17" fmla="*/ 86 h 173"/>
                  <a:gd name="T18" fmla="*/ 87 w 174"/>
                  <a:gd name="T19" fmla="*/ 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173">
                    <a:moveTo>
                      <a:pt x="87" y="173"/>
                    </a:moveTo>
                    <a:cubicBezTo>
                      <a:pt x="39" y="173"/>
                      <a:pt x="0" y="134"/>
                      <a:pt x="0" y="86"/>
                    </a:cubicBezTo>
                    <a:cubicBezTo>
                      <a:pt x="0" y="38"/>
                      <a:pt x="39" y="0"/>
                      <a:pt x="87" y="0"/>
                    </a:cubicBezTo>
                    <a:cubicBezTo>
                      <a:pt x="135" y="0"/>
                      <a:pt x="174" y="38"/>
                      <a:pt x="174" y="86"/>
                    </a:cubicBezTo>
                    <a:cubicBezTo>
                      <a:pt x="174" y="134"/>
                      <a:pt x="135" y="173"/>
                      <a:pt x="87" y="173"/>
                    </a:cubicBezTo>
                    <a:close/>
                    <a:moveTo>
                      <a:pt x="87" y="6"/>
                    </a:moveTo>
                    <a:cubicBezTo>
                      <a:pt x="43" y="6"/>
                      <a:pt x="7" y="42"/>
                      <a:pt x="7" y="86"/>
                    </a:cubicBezTo>
                    <a:cubicBezTo>
                      <a:pt x="7" y="130"/>
                      <a:pt x="43" y="166"/>
                      <a:pt x="87" y="166"/>
                    </a:cubicBezTo>
                    <a:cubicBezTo>
                      <a:pt x="131" y="166"/>
                      <a:pt x="167" y="130"/>
                      <a:pt x="167" y="86"/>
                    </a:cubicBezTo>
                    <a:cubicBezTo>
                      <a:pt x="167" y="42"/>
                      <a:pt x="131" y="6"/>
                      <a:pt x="87" y="6"/>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grpSp>
          <p:nvGrpSpPr>
            <p:cNvPr id="259" name="Group 258"/>
            <p:cNvGrpSpPr>
              <a:grpSpLocks noChangeAspect="1"/>
            </p:cNvGrpSpPr>
            <p:nvPr/>
          </p:nvGrpSpPr>
          <p:grpSpPr>
            <a:xfrm>
              <a:off x="5473069" y="5419207"/>
              <a:ext cx="360017" cy="314444"/>
              <a:chOff x="4947623" y="5161316"/>
              <a:chExt cx="233614" cy="204042"/>
            </a:xfrm>
          </p:grpSpPr>
          <p:sp>
            <p:nvSpPr>
              <p:cNvPr id="272" name="Freeform 95"/>
              <p:cNvSpPr>
                <a:spLocks/>
              </p:cNvSpPr>
              <p:nvPr/>
            </p:nvSpPr>
            <p:spPr bwMode="auto">
              <a:xfrm>
                <a:off x="4947623" y="5161316"/>
                <a:ext cx="233614" cy="89700"/>
              </a:xfrm>
              <a:custGeom>
                <a:avLst/>
                <a:gdLst>
                  <a:gd name="T0" fmla="*/ 107 w 110"/>
                  <a:gd name="T1" fmla="*/ 40 h 42"/>
                  <a:gd name="T2" fmla="*/ 99 w 110"/>
                  <a:gd name="T3" fmla="*/ 39 h 42"/>
                  <a:gd name="T4" fmla="*/ 10 w 110"/>
                  <a:gd name="T5" fmla="*/ 37 h 42"/>
                  <a:gd name="T6" fmla="*/ 2 w 110"/>
                  <a:gd name="T7" fmla="*/ 36 h 42"/>
                  <a:gd name="T8" fmla="*/ 2 w 110"/>
                  <a:gd name="T9" fmla="*/ 28 h 42"/>
                  <a:gd name="T10" fmla="*/ 108 w 110"/>
                  <a:gd name="T11" fmla="*/ 32 h 42"/>
                  <a:gd name="T12" fmla="*/ 107 w 110"/>
                  <a:gd name="T13" fmla="*/ 40 h 42"/>
                </a:gdLst>
                <a:ahLst/>
                <a:cxnLst>
                  <a:cxn ang="0">
                    <a:pos x="T0" y="T1"/>
                  </a:cxn>
                  <a:cxn ang="0">
                    <a:pos x="T2" y="T3"/>
                  </a:cxn>
                  <a:cxn ang="0">
                    <a:pos x="T4" y="T5"/>
                  </a:cxn>
                  <a:cxn ang="0">
                    <a:pos x="T6" y="T7"/>
                  </a:cxn>
                  <a:cxn ang="0">
                    <a:pos x="T8" y="T9"/>
                  </a:cxn>
                  <a:cxn ang="0">
                    <a:pos x="T10" y="T11"/>
                  </a:cxn>
                  <a:cxn ang="0">
                    <a:pos x="T12" y="T13"/>
                  </a:cxn>
                </a:cxnLst>
                <a:rect l="0" t="0" r="r" b="b"/>
                <a:pathLst>
                  <a:path w="110" h="42">
                    <a:moveTo>
                      <a:pt x="107" y="40"/>
                    </a:moveTo>
                    <a:cubicBezTo>
                      <a:pt x="105" y="42"/>
                      <a:pt x="101" y="42"/>
                      <a:pt x="99" y="39"/>
                    </a:cubicBezTo>
                    <a:cubicBezTo>
                      <a:pt x="75" y="14"/>
                      <a:pt x="35" y="13"/>
                      <a:pt x="10" y="37"/>
                    </a:cubicBezTo>
                    <a:cubicBezTo>
                      <a:pt x="8" y="39"/>
                      <a:pt x="4" y="39"/>
                      <a:pt x="2" y="36"/>
                    </a:cubicBezTo>
                    <a:cubicBezTo>
                      <a:pt x="0" y="34"/>
                      <a:pt x="0" y="30"/>
                      <a:pt x="2" y="28"/>
                    </a:cubicBezTo>
                    <a:cubicBezTo>
                      <a:pt x="32" y="0"/>
                      <a:pt x="79" y="2"/>
                      <a:pt x="108" y="32"/>
                    </a:cubicBezTo>
                    <a:cubicBezTo>
                      <a:pt x="110" y="34"/>
                      <a:pt x="110" y="37"/>
                      <a:pt x="107" y="40"/>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73" name="Freeform 96"/>
              <p:cNvSpPr>
                <a:spLocks/>
              </p:cNvSpPr>
              <p:nvPr/>
            </p:nvSpPr>
            <p:spPr bwMode="auto">
              <a:xfrm>
                <a:off x="4970294" y="5205672"/>
                <a:ext cx="183343" cy="74914"/>
              </a:xfrm>
              <a:custGeom>
                <a:avLst/>
                <a:gdLst>
                  <a:gd name="T0" fmla="*/ 84 w 86"/>
                  <a:gd name="T1" fmla="*/ 33 h 35"/>
                  <a:gd name="T2" fmla="*/ 76 w 86"/>
                  <a:gd name="T3" fmla="*/ 32 h 35"/>
                  <a:gd name="T4" fmla="*/ 11 w 86"/>
                  <a:gd name="T5" fmla="*/ 30 h 35"/>
                  <a:gd name="T6" fmla="*/ 3 w 86"/>
                  <a:gd name="T7" fmla="*/ 30 h 35"/>
                  <a:gd name="T8" fmla="*/ 3 w 86"/>
                  <a:gd name="T9" fmla="*/ 22 h 35"/>
                  <a:gd name="T10" fmla="*/ 84 w 86"/>
                  <a:gd name="T11" fmla="*/ 24 h 35"/>
                  <a:gd name="T12" fmla="*/ 84 w 86"/>
                  <a:gd name="T13" fmla="*/ 33 h 35"/>
                </a:gdLst>
                <a:ahLst/>
                <a:cxnLst>
                  <a:cxn ang="0">
                    <a:pos x="T0" y="T1"/>
                  </a:cxn>
                  <a:cxn ang="0">
                    <a:pos x="T2" y="T3"/>
                  </a:cxn>
                  <a:cxn ang="0">
                    <a:pos x="T4" y="T5"/>
                  </a:cxn>
                  <a:cxn ang="0">
                    <a:pos x="T6" y="T7"/>
                  </a:cxn>
                  <a:cxn ang="0">
                    <a:pos x="T8" y="T9"/>
                  </a:cxn>
                  <a:cxn ang="0">
                    <a:pos x="T10" y="T11"/>
                  </a:cxn>
                  <a:cxn ang="0">
                    <a:pos x="T12" y="T13"/>
                  </a:cxn>
                </a:cxnLst>
                <a:rect l="0" t="0" r="r" b="b"/>
                <a:pathLst>
                  <a:path w="86" h="35">
                    <a:moveTo>
                      <a:pt x="84" y="33"/>
                    </a:moveTo>
                    <a:cubicBezTo>
                      <a:pt x="81" y="35"/>
                      <a:pt x="78" y="35"/>
                      <a:pt x="76" y="32"/>
                    </a:cubicBezTo>
                    <a:cubicBezTo>
                      <a:pt x="58" y="14"/>
                      <a:pt x="29" y="13"/>
                      <a:pt x="11" y="30"/>
                    </a:cubicBezTo>
                    <a:cubicBezTo>
                      <a:pt x="8" y="32"/>
                      <a:pt x="5" y="32"/>
                      <a:pt x="3" y="30"/>
                    </a:cubicBezTo>
                    <a:cubicBezTo>
                      <a:pt x="0" y="28"/>
                      <a:pt x="0" y="24"/>
                      <a:pt x="3" y="22"/>
                    </a:cubicBezTo>
                    <a:cubicBezTo>
                      <a:pt x="26" y="0"/>
                      <a:pt x="62" y="1"/>
                      <a:pt x="84" y="24"/>
                    </a:cubicBezTo>
                    <a:cubicBezTo>
                      <a:pt x="86" y="27"/>
                      <a:pt x="86" y="30"/>
                      <a:pt x="84" y="33"/>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74" name="Freeform 97"/>
              <p:cNvSpPr>
                <a:spLocks/>
              </p:cNvSpPr>
              <p:nvPr/>
            </p:nvSpPr>
            <p:spPr bwMode="auto">
              <a:xfrm>
                <a:off x="4993951" y="5252987"/>
                <a:ext cx="134057" cy="59143"/>
              </a:xfrm>
              <a:custGeom>
                <a:avLst/>
                <a:gdLst>
                  <a:gd name="T0" fmla="*/ 61 w 63"/>
                  <a:gd name="T1" fmla="*/ 26 h 28"/>
                  <a:gd name="T2" fmla="*/ 53 w 63"/>
                  <a:gd name="T3" fmla="*/ 26 h 28"/>
                  <a:gd name="T4" fmla="*/ 11 w 63"/>
                  <a:gd name="T5" fmla="*/ 24 h 28"/>
                  <a:gd name="T6" fmla="*/ 3 w 63"/>
                  <a:gd name="T7" fmla="*/ 24 h 28"/>
                  <a:gd name="T8" fmla="*/ 3 w 63"/>
                  <a:gd name="T9" fmla="*/ 16 h 28"/>
                  <a:gd name="T10" fmla="*/ 61 w 63"/>
                  <a:gd name="T11" fmla="*/ 18 h 28"/>
                  <a:gd name="T12" fmla="*/ 61 w 63"/>
                  <a:gd name="T13" fmla="*/ 26 h 28"/>
                </a:gdLst>
                <a:ahLst/>
                <a:cxnLst>
                  <a:cxn ang="0">
                    <a:pos x="T0" y="T1"/>
                  </a:cxn>
                  <a:cxn ang="0">
                    <a:pos x="T2" y="T3"/>
                  </a:cxn>
                  <a:cxn ang="0">
                    <a:pos x="T4" y="T5"/>
                  </a:cxn>
                  <a:cxn ang="0">
                    <a:pos x="T6" y="T7"/>
                  </a:cxn>
                  <a:cxn ang="0">
                    <a:pos x="T8" y="T9"/>
                  </a:cxn>
                  <a:cxn ang="0">
                    <a:pos x="T10" y="T11"/>
                  </a:cxn>
                  <a:cxn ang="0">
                    <a:pos x="T12" y="T13"/>
                  </a:cxn>
                </a:cxnLst>
                <a:rect l="0" t="0" r="r" b="b"/>
                <a:pathLst>
                  <a:path w="63" h="28">
                    <a:moveTo>
                      <a:pt x="61" y="26"/>
                    </a:moveTo>
                    <a:cubicBezTo>
                      <a:pt x="59" y="28"/>
                      <a:pt x="55" y="28"/>
                      <a:pt x="53" y="26"/>
                    </a:cubicBezTo>
                    <a:cubicBezTo>
                      <a:pt x="42" y="14"/>
                      <a:pt x="23" y="13"/>
                      <a:pt x="11" y="24"/>
                    </a:cubicBezTo>
                    <a:cubicBezTo>
                      <a:pt x="8" y="27"/>
                      <a:pt x="5" y="27"/>
                      <a:pt x="3" y="24"/>
                    </a:cubicBezTo>
                    <a:cubicBezTo>
                      <a:pt x="0" y="22"/>
                      <a:pt x="1" y="18"/>
                      <a:pt x="3" y="16"/>
                    </a:cubicBezTo>
                    <a:cubicBezTo>
                      <a:pt x="19" y="0"/>
                      <a:pt x="46" y="1"/>
                      <a:pt x="61" y="18"/>
                    </a:cubicBezTo>
                    <a:cubicBezTo>
                      <a:pt x="63" y="20"/>
                      <a:pt x="63" y="24"/>
                      <a:pt x="61" y="26"/>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75" name="Freeform 98"/>
              <p:cNvSpPr>
                <a:spLocks/>
              </p:cNvSpPr>
              <p:nvPr/>
            </p:nvSpPr>
            <p:spPr bwMode="auto">
              <a:xfrm>
                <a:off x="5032394" y="5306215"/>
                <a:ext cx="59143" cy="59143"/>
              </a:xfrm>
              <a:custGeom>
                <a:avLst/>
                <a:gdLst>
                  <a:gd name="T0" fmla="*/ 23 w 28"/>
                  <a:gd name="T1" fmla="*/ 5 h 28"/>
                  <a:gd name="T2" fmla="*/ 23 w 28"/>
                  <a:gd name="T3" fmla="*/ 23 h 28"/>
                  <a:gd name="T4" fmla="*/ 5 w 28"/>
                  <a:gd name="T5" fmla="*/ 23 h 28"/>
                  <a:gd name="T6" fmla="*/ 5 w 28"/>
                  <a:gd name="T7" fmla="*/ 5 h 28"/>
                  <a:gd name="T8" fmla="*/ 23 w 28"/>
                  <a:gd name="T9" fmla="*/ 5 h 28"/>
                </a:gdLst>
                <a:ahLst/>
                <a:cxnLst>
                  <a:cxn ang="0">
                    <a:pos x="T0" y="T1"/>
                  </a:cxn>
                  <a:cxn ang="0">
                    <a:pos x="T2" y="T3"/>
                  </a:cxn>
                  <a:cxn ang="0">
                    <a:pos x="T4" y="T5"/>
                  </a:cxn>
                  <a:cxn ang="0">
                    <a:pos x="T6" y="T7"/>
                  </a:cxn>
                  <a:cxn ang="0">
                    <a:pos x="T8" y="T9"/>
                  </a:cxn>
                </a:cxnLst>
                <a:rect l="0" t="0" r="r" b="b"/>
                <a:pathLst>
                  <a:path w="28" h="28">
                    <a:moveTo>
                      <a:pt x="23" y="5"/>
                    </a:moveTo>
                    <a:cubicBezTo>
                      <a:pt x="28" y="10"/>
                      <a:pt x="28" y="19"/>
                      <a:pt x="23" y="23"/>
                    </a:cubicBezTo>
                    <a:cubicBezTo>
                      <a:pt x="18" y="28"/>
                      <a:pt x="9" y="28"/>
                      <a:pt x="5" y="23"/>
                    </a:cubicBezTo>
                    <a:cubicBezTo>
                      <a:pt x="0" y="18"/>
                      <a:pt x="0" y="10"/>
                      <a:pt x="5" y="5"/>
                    </a:cubicBezTo>
                    <a:cubicBezTo>
                      <a:pt x="10" y="0"/>
                      <a:pt x="18" y="0"/>
                      <a:pt x="23" y="5"/>
                    </a:cubicBezTo>
                    <a:close/>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sp>
          <p:nvSpPr>
            <p:cNvPr id="260" name="Freeform 119"/>
            <p:cNvSpPr>
              <a:spLocks noEditPoints="1"/>
            </p:cNvSpPr>
            <p:nvPr/>
          </p:nvSpPr>
          <p:spPr bwMode="auto">
            <a:xfrm>
              <a:off x="5331848" y="4375620"/>
              <a:ext cx="1426326" cy="119271"/>
            </a:xfrm>
            <a:custGeom>
              <a:avLst/>
              <a:gdLst>
                <a:gd name="T0" fmla="*/ 670 w 670"/>
                <a:gd name="T1" fmla="*/ 56 h 56"/>
                <a:gd name="T2" fmla="*/ 0 w 670"/>
                <a:gd name="T3" fmla="*/ 56 h 56"/>
                <a:gd name="T4" fmla="*/ 0 w 670"/>
                <a:gd name="T5" fmla="*/ 55 h 56"/>
                <a:gd name="T6" fmla="*/ 0 w 670"/>
                <a:gd name="T7" fmla="*/ 53 h 56"/>
                <a:gd name="T8" fmla="*/ 0 w 670"/>
                <a:gd name="T9" fmla="*/ 53 h 56"/>
                <a:gd name="T10" fmla="*/ 0 w 670"/>
                <a:gd name="T11" fmla="*/ 52 h 56"/>
                <a:gd name="T12" fmla="*/ 0 w 670"/>
                <a:gd name="T13" fmla="*/ 52 h 56"/>
                <a:gd name="T14" fmla="*/ 0 w 670"/>
                <a:gd name="T15" fmla="*/ 51 h 56"/>
                <a:gd name="T16" fmla="*/ 0 w 670"/>
                <a:gd name="T17" fmla="*/ 51 h 56"/>
                <a:gd name="T18" fmla="*/ 0 w 670"/>
                <a:gd name="T19" fmla="*/ 50 h 56"/>
                <a:gd name="T20" fmla="*/ 0 w 670"/>
                <a:gd name="T21" fmla="*/ 49 h 56"/>
                <a:gd name="T22" fmla="*/ 0 w 670"/>
                <a:gd name="T23" fmla="*/ 48 h 56"/>
                <a:gd name="T24" fmla="*/ 0 w 670"/>
                <a:gd name="T25" fmla="*/ 48 h 56"/>
                <a:gd name="T26" fmla="*/ 0 w 670"/>
                <a:gd name="T27" fmla="*/ 48 h 56"/>
                <a:gd name="T28" fmla="*/ 0 w 670"/>
                <a:gd name="T29" fmla="*/ 47 h 56"/>
                <a:gd name="T30" fmla="*/ 0 w 670"/>
                <a:gd name="T31" fmla="*/ 46 h 56"/>
                <a:gd name="T32" fmla="*/ 0 w 670"/>
                <a:gd name="T33" fmla="*/ 46 h 56"/>
                <a:gd name="T34" fmla="*/ 0 w 670"/>
                <a:gd name="T35" fmla="*/ 46 h 56"/>
                <a:gd name="T36" fmla="*/ 0 w 670"/>
                <a:gd name="T37" fmla="*/ 45 h 56"/>
                <a:gd name="T38" fmla="*/ 0 w 670"/>
                <a:gd name="T39" fmla="*/ 45 h 56"/>
                <a:gd name="T40" fmla="*/ 0 w 670"/>
                <a:gd name="T41" fmla="*/ 44 h 56"/>
                <a:gd name="T42" fmla="*/ 0 w 670"/>
                <a:gd name="T43" fmla="*/ 44 h 56"/>
                <a:gd name="T44" fmla="*/ 0 w 670"/>
                <a:gd name="T45" fmla="*/ 43 h 56"/>
                <a:gd name="T46" fmla="*/ 0 w 670"/>
                <a:gd name="T47" fmla="*/ 43 h 56"/>
                <a:gd name="T48" fmla="*/ 1 w 670"/>
                <a:gd name="T49" fmla="*/ 41 h 56"/>
                <a:gd name="T50" fmla="*/ 1 w 670"/>
                <a:gd name="T51" fmla="*/ 41 h 56"/>
                <a:gd name="T52" fmla="*/ 1 w 670"/>
                <a:gd name="T53" fmla="*/ 41 h 56"/>
                <a:gd name="T54" fmla="*/ 1 w 670"/>
                <a:gd name="T55" fmla="*/ 40 h 56"/>
                <a:gd name="T56" fmla="*/ 1 w 670"/>
                <a:gd name="T57" fmla="*/ 39 h 56"/>
                <a:gd name="T58" fmla="*/ 1 w 670"/>
                <a:gd name="T59" fmla="*/ 38 h 56"/>
                <a:gd name="T60" fmla="*/ 1 w 670"/>
                <a:gd name="T61" fmla="*/ 37 h 56"/>
                <a:gd name="T62" fmla="*/ 1 w 670"/>
                <a:gd name="T63" fmla="*/ 35 h 56"/>
                <a:gd name="T64" fmla="*/ 1 w 670"/>
                <a:gd name="T65" fmla="*/ 34 h 56"/>
                <a:gd name="T66" fmla="*/ 1 w 670"/>
                <a:gd name="T67" fmla="*/ 33 h 56"/>
                <a:gd name="T68" fmla="*/ 1 w 670"/>
                <a:gd name="T69" fmla="*/ 32 h 56"/>
                <a:gd name="T70" fmla="*/ 1 w 670"/>
                <a:gd name="T71" fmla="*/ 31 h 56"/>
                <a:gd name="T72" fmla="*/ 1 w 670"/>
                <a:gd name="T73" fmla="*/ 30 h 56"/>
                <a:gd name="T74" fmla="*/ 1 w 670"/>
                <a:gd name="T75" fmla="*/ 29 h 56"/>
                <a:gd name="T76" fmla="*/ 1 w 670"/>
                <a:gd name="T77" fmla="*/ 28 h 56"/>
                <a:gd name="T78" fmla="*/ 1 w 670"/>
                <a:gd name="T79" fmla="*/ 27 h 56"/>
                <a:gd name="T80" fmla="*/ 2 w 670"/>
                <a:gd name="T81" fmla="*/ 26 h 56"/>
                <a:gd name="T82" fmla="*/ 2 w 670"/>
                <a:gd name="T83" fmla="*/ 25 h 56"/>
                <a:gd name="T84" fmla="*/ 2 w 670"/>
                <a:gd name="T85" fmla="*/ 24 h 56"/>
                <a:gd name="T86" fmla="*/ 2 w 670"/>
                <a:gd name="T87" fmla="*/ 23 h 56"/>
                <a:gd name="T88" fmla="*/ 2 w 670"/>
                <a:gd name="T89" fmla="*/ 22 h 56"/>
                <a:gd name="T90" fmla="*/ 2 w 670"/>
                <a:gd name="T91" fmla="*/ 20 h 56"/>
                <a:gd name="T92" fmla="*/ 2 w 670"/>
                <a:gd name="T93" fmla="*/ 19 h 56"/>
                <a:gd name="T94" fmla="*/ 2 w 670"/>
                <a:gd name="T95" fmla="*/ 18 h 56"/>
                <a:gd name="T96" fmla="*/ 2 w 670"/>
                <a:gd name="T97" fmla="*/ 17 h 56"/>
                <a:gd name="T98" fmla="*/ 3 w 670"/>
                <a:gd name="T99" fmla="*/ 16 h 56"/>
                <a:gd name="T100" fmla="*/ 3 w 670"/>
                <a:gd name="T101" fmla="*/ 15 h 56"/>
                <a:gd name="T102" fmla="*/ 3 w 670"/>
                <a:gd name="T103" fmla="*/ 14 h 56"/>
                <a:gd name="T104" fmla="*/ 3 w 670"/>
                <a:gd name="T105" fmla="*/ 13 h 56"/>
                <a:gd name="T106" fmla="*/ 3 w 670"/>
                <a:gd name="T107" fmla="*/ 12 h 56"/>
                <a:gd name="T108" fmla="*/ 3 w 670"/>
                <a:gd name="T109" fmla="*/ 11 h 56"/>
                <a:gd name="T110" fmla="*/ 3 w 670"/>
                <a:gd name="T111" fmla="*/ 10 h 56"/>
                <a:gd name="T112" fmla="*/ 4 w 670"/>
                <a:gd name="T113" fmla="*/ 9 h 56"/>
                <a:gd name="T114" fmla="*/ 4 w 670"/>
                <a:gd name="T115" fmla="*/ 8 h 56"/>
                <a:gd name="T116" fmla="*/ 4 w 670"/>
                <a:gd name="T117" fmla="*/ 7 h 56"/>
                <a:gd name="T118" fmla="*/ 4 w 670"/>
                <a:gd name="T119" fmla="*/ 4 h 56"/>
                <a:gd name="T120" fmla="*/ 4 w 670"/>
                <a:gd name="T121" fmla="*/ 4 h 56"/>
                <a:gd name="T122" fmla="*/ 5 w 670"/>
                <a:gd name="T1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0" h="56">
                  <a:moveTo>
                    <a:pt x="670" y="55"/>
                  </a:moveTo>
                  <a:cubicBezTo>
                    <a:pt x="670" y="55"/>
                    <a:pt x="670" y="56"/>
                    <a:pt x="670" y="56"/>
                  </a:cubicBezTo>
                  <a:cubicBezTo>
                    <a:pt x="670" y="56"/>
                    <a:pt x="670" y="56"/>
                    <a:pt x="670" y="56"/>
                  </a:cubicBezTo>
                  <a:cubicBezTo>
                    <a:pt x="670" y="56"/>
                    <a:pt x="670" y="55"/>
                    <a:pt x="670" y="55"/>
                  </a:cubicBezTo>
                  <a:moveTo>
                    <a:pt x="0" y="55"/>
                  </a:moveTo>
                  <a:cubicBezTo>
                    <a:pt x="0" y="55"/>
                    <a:pt x="0" y="56"/>
                    <a:pt x="0" y="56"/>
                  </a:cubicBezTo>
                  <a:cubicBezTo>
                    <a:pt x="0" y="56"/>
                    <a:pt x="0" y="55"/>
                    <a:pt x="0" y="55"/>
                  </a:cubicBezTo>
                  <a:moveTo>
                    <a:pt x="0" y="54"/>
                  </a:moveTo>
                  <a:cubicBezTo>
                    <a:pt x="0" y="54"/>
                    <a:pt x="0" y="55"/>
                    <a:pt x="0" y="55"/>
                  </a:cubicBezTo>
                  <a:cubicBezTo>
                    <a:pt x="0" y="55"/>
                    <a:pt x="0" y="55"/>
                    <a:pt x="0" y="55"/>
                  </a:cubicBezTo>
                  <a:cubicBezTo>
                    <a:pt x="0" y="54"/>
                    <a:pt x="0" y="54"/>
                    <a:pt x="0" y="54"/>
                  </a:cubicBezTo>
                  <a:moveTo>
                    <a:pt x="0" y="53"/>
                  </a:moveTo>
                  <a:cubicBezTo>
                    <a:pt x="0" y="53"/>
                    <a:pt x="0" y="54"/>
                    <a:pt x="0" y="54"/>
                  </a:cubicBezTo>
                  <a:cubicBezTo>
                    <a:pt x="0" y="54"/>
                    <a:pt x="0" y="54"/>
                    <a:pt x="0" y="53"/>
                  </a:cubicBezTo>
                  <a:cubicBezTo>
                    <a:pt x="0" y="53"/>
                    <a:pt x="0" y="53"/>
                    <a:pt x="0" y="53"/>
                  </a:cubicBezTo>
                  <a:moveTo>
                    <a:pt x="0" y="52"/>
                  </a:moveTo>
                  <a:cubicBezTo>
                    <a:pt x="0" y="52"/>
                    <a:pt x="0" y="52"/>
                    <a:pt x="0" y="53"/>
                  </a:cubicBezTo>
                  <a:cubicBezTo>
                    <a:pt x="0" y="53"/>
                    <a:pt x="0" y="52"/>
                    <a:pt x="0" y="52"/>
                  </a:cubicBezTo>
                  <a:cubicBezTo>
                    <a:pt x="0" y="52"/>
                    <a:pt x="0" y="52"/>
                    <a:pt x="0" y="52"/>
                  </a:cubicBezTo>
                  <a:moveTo>
                    <a:pt x="0" y="52"/>
                  </a:moveTo>
                  <a:cubicBezTo>
                    <a:pt x="0" y="52"/>
                    <a:pt x="0" y="52"/>
                    <a:pt x="0" y="52"/>
                  </a:cubicBezTo>
                  <a:cubicBezTo>
                    <a:pt x="0" y="52"/>
                    <a:pt x="0" y="52"/>
                    <a:pt x="0" y="52"/>
                  </a:cubicBezTo>
                  <a:cubicBezTo>
                    <a:pt x="0" y="52"/>
                    <a:pt x="0" y="52"/>
                    <a:pt x="0" y="52"/>
                  </a:cubicBezTo>
                  <a:moveTo>
                    <a:pt x="0" y="51"/>
                  </a:moveTo>
                  <a:cubicBezTo>
                    <a:pt x="0" y="51"/>
                    <a:pt x="0" y="51"/>
                    <a:pt x="0" y="52"/>
                  </a:cubicBezTo>
                  <a:cubicBezTo>
                    <a:pt x="0" y="51"/>
                    <a:pt x="0" y="51"/>
                    <a:pt x="0" y="51"/>
                  </a:cubicBezTo>
                  <a:cubicBezTo>
                    <a:pt x="0" y="51"/>
                    <a:pt x="0" y="51"/>
                    <a:pt x="0" y="51"/>
                  </a:cubicBezTo>
                  <a:moveTo>
                    <a:pt x="0" y="50"/>
                  </a:moveTo>
                  <a:cubicBezTo>
                    <a:pt x="0" y="50"/>
                    <a:pt x="0" y="50"/>
                    <a:pt x="0" y="50"/>
                  </a:cubicBezTo>
                  <a:cubicBezTo>
                    <a:pt x="0" y="50"/>
                    <a:pt x="0" y="50"/>
                    <a:pt x="0" y="50"/>
                  </a:cubicBezTo>
                  <a:cubicBezTo>
                    <a:pt x="0" y="50"/>
                    <a:pt x="0" y="50"/>
                    <a:pt x="0" y="50"/>
                  </a:cubicBezTo>
                  <a:moveTo>
                    <a:pt x="0" y="49"/>
                  </a:moveTo>
                  <a:cubicBezTo>
                    <a:pt x="0" y="49"/>
                    <a:pt x="0" y="49"/>
                    <a:pt x="0" y="49"/>
                  </a:cubicBezTo>
                  <a:cubicBezTo>
                    <a:pt x="0" y="49"/>
                    <a:pt x="0" y="49"/>
                    <a:pt x="0" y="49"/>
                  </a:cubicBezTo>
                  <a:cubicBezTo>
                    <a:pt x="0" y="49"/>
                    <a:pt x="0" y="49"/>
                    <a:pt x="0" y="49"/>
                  </a:cubicBezTo>
                  <a:moveTo>
                    <a:pt x="0" y="48"/>
                  </a:moveTo>
                  <a:cubicBezTo>
                    <a:pt x="0" y="48"/>
                    <a:pt x="0" y="48"/>
                    <a:pt x="0" y="48"/>
                  </a:cubicBezTo>
                  <a:cubicBezTo>
                    <a:pt x="0" y="48"/>
                    <a:pt x="0" y="48"/>
                    <a:pt x="0" y="48"/>
                  </a:cubicBezTo>
                  <a:cubicBezTo>
                    <a:pt x="0" y="48"/>
                    <a:pt x="0" y="48"/>
                    <a:pt x="0" y="48"/>
                  </a:cubicBezTo>
                  <a:moveTo>
                    <a:pt x="0" y="47"/>
                  </a:moveTo>
                  <a:cubicBezTo>
                    <a:pt x="0" y="48"/>
                    <a:pt x="0" y="48"/>
                    <a:pt x="0" y="48"/>
                  </a:cubicBezTo>
                  <a:cubicBezTo>
                    <a:pt x="0" y="48"/>
                    <a:pt x="0" y="48"/>
                    <a:pt x="0" y="48"/>
                  </a:cubicBezTo>
                  <a:cubicBezTo>
                    <a:pt x="0" y="48"/>
                    <a:pt x="0" y="48"/>
                    <a:pt x="0" y="47"/>
                  </a:cubicBezTo>
                  <a:moveTo>
                    <a:pt x="0" y="46"/>
                  </a:moveTo>
                  <a:cubicBezTo>
                    <a:pt x="0" y="47"/>
                    <a:pt x="0" y="47"/>
                    <a:pt x="0" y="47"/>
                  </a:cubicBezTo>
                  <a:cubicBezTo>
                    <a:pt x="0" y="47"/>
                    <a:pt x="0" y="47"/>
                    <a:pt x="0" y="47"/>
                  </a:cubicBezTo>
                  <a:cubicBezTo>
                    <a:pt x="0" y="47"/>
                    <a:pt x="0" y="47"/>
                    <a:pt x="0" y="47"/>
                  </a:cubicBezTo>
                  <a:cubicBezTo>
                    <a:pt x="0" y="47"/>
                    <a:pt x="0" y="46"/>
                    <a:pt x="0" y="46"/>
                  </a:cubicBezTo>
                  <a:moveTo>
                    <a:pt x="0" y="46"/>
                  </a:moveTo>
                  <a:cubicBezTo>
                    <a:pt x="0" y="46"/>
                    <a:pt x="0" y="46"/>
                    <a:pt x="0" y="46"/>
                  </a:cubicBezTo>
                  <a:cubicBezTo>
                    <a:pt x="0" y="46"/>
                    <a:pt x="0" y="46"/>
                    <a:pt x="0" y="46"/>
                  </a:cubicBezTo>
                  <a:cubicBezTo>
                    <a:pt x="0" y="46"/>
                    <a:pt x="0" y="46"/>
                    <a:pt x="0" y="46"/>
                  </a:cubicBezTo>
                  <a:moveTo>
                    <a:pt x="0" y="45"/>
                  </a:moveTo>
                  <a:cubicBezTo>
                    <a:pt x="0" y="46"/>
                    <a:pt x="0" y="46"/>
                    <a:pt x="0" y="46"/>
                  </a:cubicBezTo>
                  <a:cubicBezTo>
                    <a:pt x="0" y="46"/>
                    <a:pt x="0" y="46"/>
                    <a:pt x="0" y="46"/>
                  </a:cubicBezTo>
                  <a:cubicBezTo>
                    <a:pt x="0" y="46"/>
                    <a:pt x="0" y="45"/>
                    <a:pt x="0" y="45"/>
                  </a:cubicBezTo>
                  <a:moveTo>
                    <a:pt x="0" y="45"/>
                  </a:moveTo>
                  <a:cubicBezTo>
                    <a:pt x="0" y="45"/>
                    <a:pt x="0" y="45"/>
                    <a:pt x="0" y="45"/>
                  </a:cubicBezTo>
                  <a:cubicBezTo>
                    <a:pt x="0" y="45"/>
                    <a:pt x="0" y="45"/>
                    <a:pt x="0" y="45"/>
                  </a:cubicBezTo>
                  <a:cubicBezTo>
                    <a:pt x="0" y="45"/>
                    <a:pt x="0" y="45"/>
                    <a:pt x="0" y="45"/>
                  </a:cubicBezTo>
                  <a:moveTo>
                    <a:pt x="0" y="44"/>
                  </a:moveTo>
                  <a:cubicBezTo>
                    <a:pt x="0" y="44"/>
                    <a:pt x="0" y="44"/>
                    <a:pt x="0" y="45"/>
                  </a:cubicBezTo>
                  <a:cubicBezTo>
                    <a:pt x="0" y="45"/>
                    <a:pt x="0" y="45"/>
                    <a:pt x="0" y="44"/>
                  </a:cubicBezTo>
                  <a:cubicBezTo>
                    <a:pt x="0" y="44"/>
                    <a:pt x="0" y="44"/>
                    <a:pt x="0" y="44"/>
                  </a:cubicBezTo>
                  <a:moveTo>
                    <a:pt x="0" y="43"/>
                  </a:moveTo>
                  <a:cubicBezTo>
                    <a:pt x="0" y="43"/>
                    <a:pt x="0" y="44"/>
                    <a:pt x="0" y="44"/>
                  </a:cubicBezTo>
                  <a:cubicBezTo>
                    <a:pt x="0" y="44"/>
                    <a:pt x="0" y="44"/>
                    <a:pt x="0" y="44"/>
                  </a:cubicBezTo>
                  <a:cubicBezTo>
                    <a:pt x="0" y="44"/>
                    <a:pt x="0" y="44"/>
                    <a:pt x="0" y="43"/>
                  </a:cubicBezTo>
                  <a:cubicBezTo>
                    <a:pt x="0" y="43"/>
                    <a:pt x="0" y="43"/>
                    <a:pt x="0" y="43"/>
                  </a:cubicBezTo>
                  <a:moveTo>
                    <a:pt x="0" y="42"/>
                  </a:moveTo>
                  <a:cubicBezTo>
                    <a:pt x="0" y="42"/>
                    <a:pt x="0" y="43"/>
                    <a:pt x="0" y="43"/>
                  </a:cubicBezTo>
                  <a:cubicBezTo>
                    <a:pt x="0" y="43"/>
                    <a:pt x="0" y="43"/>
                    <a:pt x="0" y="43"/>
                  </a:cubicBezTo>
                  <a:cubicBezTo>
                    <a:pt x="0" y="43"/>
                    <a:pt x="0" y="43"/>
                    <a:pt x="0" y="42"/>
                  </a:cubicBezTo>
                  <a:cubicBezTo>
                    <a:pt x="0" y="42"/>
                    <a:pt x="0" y="42"/>
                    <a:pt x="0" y="42"/>
                  </a:cubicBezTo>
                  <a:moveTo>
                    <a:pt x="1" y="41"/>
                  </a:moveTo>
                  <a:cubicBezTo>
                    <a:pt x="1" y="41"/>
                    <a:pt x="1" y="42"/>
                    <a:pt x="1" y="42"/>
                  </a:cubicBezTo>
                  <a:cubicBezTo>
                    <a:pt x="1" y="42"/>
                    <a:pt x="1" y="42"/>
                    <a:pt x="1" y="42"/>
                  </a:cubicBezTo>
                  <a:cubicBezTo>
                    <a:pt x="1" y="41"/>
                    <a:pt x="1" y="41"/>
                    <a:pt x="1" y="41"/>
                  </a:cubicBezTo>
                  <a:cubicBezTo>
                    <a:pt x="1" y="41"/>
                    <a:pt x="1" y="41"/>
                    <a:pt x="1" y="41"/>
                  </a:cubicBezTo>
                  <a:moveTo>
                    <a:pt x="1" y="40"/>
                  </a:moveTo>
                  <a:cubicBezTo>
                    <a:pt x="1" y="40"/>
                    <a:pt x="1" y="41"/>
                    <a:pt x="1" y="41"/>
                  </a:cubicBezTo>
                  <a:cubicBezTo>
                    <a:pt x="1" y="41"/>
                    <a:pt x="1" y="40"/>
                    <a:pt x="1" y="40"/>
                  </a:cubicBezTo>
                  <a:moveTo>
                    <a:pt x="1" y="39"/>
                  </a:moveTo>
                  <a:cubicBezTo>
                    <a:pt x="1" y="39"/>
                    <a:pt x="1" y="39"/>
                    <a:pt x="1" y="40"/>
                  </a:cubicBezTo>
                  <a:cubicBezTo>
                    <a:pt x="1" y="39"/>
                    <a:pt x="1" y="39"/>
                    <a:pt x="1" y="39"/>
                  </a:cubicBezTo>
                  <a:moveTo>
                    <a:pt x="1" y="38"/>
                  </a:moveTo>
                  <a:cubicBezTo>
                    <a:pt x="1" y="38"/>
                    <a:pt x="1" y="38"/>
                    <a:pt x="1" y="39"/>
                  </a:cubicBezTo>
                  <a:cubicBezTo>
                    <a:pt x="1" y="38"/>
                    <a:pt x="1" y="38"/>
                    <a:pt x="1" y="38"/>
                  </a:cubicBezTo>
                  <a:moveTo>
                    <a:pt x="1" y="37"/>
                  </a:moveTo>
                  <a:cubicBezTo>
                    <a:pt x="1" y="37"/>
                    <a:pt x="1" y="37"/>
                    <a:pt x="1" y="38"/>
                  </a:cubicBezTo>
                  <a:cubicBezTo>
                    <a:pt x="1" y="37"/>
                    <a:pt x="1" y="37"/>
                    <a:pt x="1" y="37"/>
                  </a:cubicBezTo>
                  <a:moveTo>
                    <a:pt x="1" y="36"/>
                  </a:moveTo>
                  <a:cubicBezTo>
                    <a:pt x="1" y="36"/>
                    <a:pt x="1" y="36"/>
                    <a:pt x="1" y="37"/>
                  </a:cubicBezTo>
                  <a:cubicBezTo>
                    <a:pt x="1" y="36"/>
                    <a:pt x="1" y="36"/>
                    <a:pt x="1" y="36"/>
                  </a:cubicBezTo>
                  <a:moveTo>
                    <a:pt x="1" y="35"/>
                  </a:moveTo>
                  <a:cubicBezTo>
                    <a:pt x="1" y="35"/>
                    <a:pt x="1" y="35"/>
                    <a:pt x="1" y="35"/>
                  </a:cubicBezTo>
                  <a:cubicBezTo>
                    <a:pt x="1" y="35"/>
                    <a:pt x="1" y="35"/>
                    <a:pt x="1" y="35"/>
                  </a:cubicBezTo>
                  <a:moveTo>
                    <a:pt x="1" y="34"/>
                  </a:moveTo>
                  <a:cubicBezTo>
                    <a:pt x="1" y="34"/>
                    <a:pt x="1" y="34"/>
                    <a:pt x="1" y="34"/>
                  </a:cubicBezTo>
                  <a:cubicBezTo>
                    <a:pt x="1" y="34"/>
                    <a:pt x="1" y="34"/>
                    <a:pt x="1" y="34"/>
                  </a:cubicBezTo>
                  <a:moveTo>
                    <a:pt x="1" y="33"/>
                  </a:moveTo>
                  <a:cubicBezTo>
                    <a:pt x="1" y="33"/>
                    <a:pt x="1" y="33"/>
                    <a:pt x="1" y="33"/>
                  </a:cubicBezTo>
                  <a:cubicBezTo>
                    <a:pt x="1" y="33"/>
                    <a:pt x="1" y="33"/>
                    <a:pt x="1" y="33"/>
                  </a:cubicBezTo>
                  <a:moveTo>
                    <a:pt x="1" y="31"/>
                  </a:moveTo>
                  <a:cubicBezTo>
                    <a:pt x="1" y="32"/>
                    <a:pt x="1" y="32"/>
                    <a:pt x="1" y="32"/>
                  </a:cubicBezTo>
                  <a:cubicBezTo>
                    <a:pt x="1" y="32"/>
                    <a:pt x="1" y="32"/>
                    <a:pt x="1" y="31"/>
                  </a:cubicBezTo>
                  <a:moveTo>
                    <a:pt x="1" y="30"/>
                  </a:moveTo>
                  <a:cubicBezTo>
                    <a:pt x="1" y="31"/>
                    <a:pt x="1" y="31"/>
                    <a:pt x="1" y="31"/>
                  </a:cubicBezTo>
                  <a:cubicBezTo>
                    <a:pt x="1" y="31"/>
                    <a:pt x="1" y="31"/>
                    <a:pt x="1" y="30"/>
                  </a:cubicBezTo>
                  <a:moveTo>
                    <a:pt x="1" y="30"/>
                  </a:moveTo>
                  <a:cubicBezTo>
                    <a:pt x="1" y="30"/>
                    <a:pt x="1" y="30"/>
                    <a:pt x="1" y="30"/>
                  </a:cubicBezTo>
                  <a:cubicBezTo>
                    <a:pt x="1" y="30"/>
                    <a:pt x="1" y="30"/>
                    <a:pt x="1" y="30"/>
                  </a:cubicBezTo>
                  <a:moveTo>
                    <a:pt x="1" y="28"/>
                  </a:moveTo>
                  <a:cubicBezTo>
                    <a:pt x="1" y="29"/>
                    <a:pt x="1" y="29"/>
                    <a:pt x="1" y="29"/>
                  </a:cubicBezTo>
                  <a:cubicBezTo>
                    <a:pt x="1" y="29"/>
                    <a:pt x="1" y="29"/>
                    <a:pt x="1" y="28"/>
                  </a:cubicBezTo>
                  <a:moveTo>
                    <a:pt x="1" y="27"/>
                  </a:moveTo>
                  <a:cubicBezTo>
                    <a:pt x="1" y="27"/>
                    <a:pt x="1" y="28"/>
                    <a:pt x="1" y="28"/>
                  </a:cubicBezTo>
                  <a:cubicBezTo>
                    <a:pt x="1" y="28"/>
                    <a:pt x="1" y="27"/>
                    <a:pt x="1" y="27"/>
                  </a:cubicBezTo>
                  <a:moveTo>
                    <a:pt x="2" y="26"/>
                  </a:moveTo>
                  <a:cubicBezTo>
                    <a:pt x="1" y="26"/>
                    <a:pt x="1" y="27"/>
                    <a:pt x="1" y="27"/>
                  </a:cubicBezTo>
                  <a:cubicBezTo>
                    <a:pt x="1" y="27"/>
                    <a:pt x="1" y="26"/>
                    <a:pt x="2" y="26"/>
                  </a:cubicBezTo>
                  <a:moveTo>
                    <a:pt x="2" y="25"/>
                  </a:moveTo>
                  <a:cubicBezTo>
                    <a:pt x="2" y="25"/>
                    <a:pt x="2" y="26"/>
                    <a:pt x="2" y="26"/>
                  </a:cubicBezTo>
                  <a:cubicBezTo>
                    <a:pt x="2" y="26"/>
                    <a:pt x="2" y="25"/>
                    <a:pt x="2" y="25"/>
                  </a:cubicBezTo>
                  <a:moveTo>
                    <a:pt x="2" y="24"/>
                  </a:moveTo>
                  <a:cubicBezTo>
                    <a:pt x="2" y="24"/>
                    <a:pt x="2" y="25"/>
                    <a:pt x="2" y="25"/>
                  </a:cubicBezTo>
                  <a:cubicBezTo>
                    <a:pt x="2" y="25"/>
                    <a:pt x="2" y="24"/>
                    <a:pt x="2" y="24"/>
                  </a:cubicBezTo>
                  <a:moveTo>
                    <a:pt x="2" y="23"/>
                  </a:moveTo>
                  <a:cubicBezTo>
                    <a:pt x="2" y="23"/>
                    <a:pt x="2" y="23"/>
                    <a:pt x="2" y="24"/>
                  </a:cubicBezTo>
                  <a:cubicBezTo>
                    <a:pt x="2" y="23"/>
                    <a:pt x="2" y="23"/>
                    <a:pt x="2" y="23"/>
                  </a:cubicBezTo>
                  <a:moveTo>
                    <a:pt x="2" y="22"/>
                  </a:moveTo>
                  <a:cubicBezTo>
                    <a:pt x="2" y="22"/>
                    <a:pt x="2" y="22"/>
                    <a:pt x="2" y="23"/>
                  </a:cubicBezTo>
                  <a:cubicBezTo>
                    <a:pt x="2" y="22"/>
                    <a:pt x="2" y="22"/>
                    <a:pt x="2" y="22"/>
                  </a:cubicBezTo>
                  <a:moveTo>
                    <a:pt x="2" y="21"/>
                  </a:moveTo>
                  <a:cubicBezTo>
                    <a:pt x="2" y="21"/>
                    <a:pt x="2" y="21"/>
                    <a:pt x="2" y="22"/>
                  </a:cubicBezTo>
                  <a:cubicBezTo>
                    <a:pt x="2" y="21"/>
                    <a:pt x="2" y="21"/>
                    <a:pt x="2" y="21"/>
                  </a:cubicBezTo>
                  <a:moveTo>
                    <a:pt x="2" y="20"/>
                  </a:moveTo>
                  <a:cubicBezTo>
                    <a:pt x="2" y="20"/>
                    <a:pt x="2" y="20"/>
                    <a:pt x="2" y="20"/>
                  </a:cubicBezTo>
                  <a:cubicBezTo>
                    <a:pt x="2" y="20"/>
                    <a:pt x="2" y="20"/>
                    <a:pt x="2" y="20"/>
                  </a:cubicBezTo>
                  <a:moveTo>
                    <a:pt x="2" y="19"/>
                  </a:moveTo>
                  <a:cubicBezTo>
                    <a:pt x="2" y="19"/>
                    <a:pt x="2" y="19"/>
                    <a:pt x="2" y="19"/>
                  </a:cubicBezTo>
                  <a:cubicBezTo>
                    <a:pt x="2" y="19"/>
                    <a:pt x="2" y="19"/>
                    <a:pt x="2" y="19"/>
                  </a:cubicBezTo>
                  <a:moveTo>
                    <a:pt x="2" y="18"/>
                  </a:moveTo>
                  <a:cubicBezTo>
                    <a:pt x="2" y="18"/>
                    <a:pt x="2" y="18"/>
                    <a:pt x="2" y="18"/>
                  </a:cubicBezTo>
                  <a:cubicBezTo>
                    <a:pt x="2" y="18"/>
                    <a:pt x="2" y="18"/>
                    <a:pt x="2" y="18"/>
                  </a:cubicBezTo>
                  <a:moveTo>
                    <a:pt x="3" y="17"/>
                  </a:moveTo>
                  <a:cubicBezTo>
                    <a:pt x="2" y="17"/>
                    <a:pt x="2" y="17"/>
                    <a:pt x="2" y="17"/>
                  </a:cubicBezTo>
                  <a:cubicBezTo>
                    <a:pt x="2" y="17"/>
                    <a:pt x="2" y="17"/>
                    <a:pt x="3" y="17"/>
                  </a:cubicBezTo>
                  <a:moveTo>
                    <a:pt x="3" y="16"/>
                  </a:moveTo>
                  <a:cubicBezTo>
                    <a:pt x="3" y="16"/>
                    <a:pt x="3" y="16"/>
                    <a:pt x="3" y="16"/>
                  </a:cubicBezTo>
                  <a:cubicBezTo>
                    <a:pt x="3" y="16"/>
                    <a:pt x="3" y="16"/>
                    <a:pt x="3" y="16"/>
                  </a:cubicBezTo>
                  <a:moveTo>
                    <a:pt x="3" y="15"/>
                  </a:moveTo>
                  <a:cubicBezTo>
                    <a:pt x="3" y="15"/>
                    <a:pt x="3" y="15"/>
                    <a:pt x="3" y="15"/>
                  </a:cubicBezTo>
                  <a:cubicBezTo>
                    <a:pt x="3" y="15"/>
                    <a:pt x="3" y="15"/>
                    <a:pt x="3" y="15"/>
                  </a:cubicBezTo>
                  <a:moveTo>
                    <a:pt x="3" y="14"/>
                  </a:moveTo>
                  <a:cubicBezTo>
                    <a:pt x="3" y="14"/>
                    <a:pt x="3" y="14"/>
                    <a:pt x="3" y="14"/>
                  </a:cubicBezTo>
                  <a:cubicBezTo>
                    <a:pt x="3" y="14"/>
                    <a:pt x="3" y="14"/>
                    <a:pt x="3" y="14"/>
                  </a:cubicBezTo>
                  <a:moveTo>
                    <a:pt x="3" y="12"/>
                  </a:moveTo>
                  <a:cubicBezTo>
                    <a:pt x="3" y="13"/>
                    <a:pt x="3" y="13"/>
                    <a:pt x="3" y="13"/>
                  </a:cubicBezTo>
                  <a:cubicBezTo>
                    <a:pt x="3" y="13"/>
                    <a:pt x="3" y="13"/>
                    <a:pt x="3" y="12"/>
                  </a:cubicBezTo>
                  <a:moveTo>
                    <a:pt x="3" y="12"/>
                  </a:moveTo>
                  <a:cubicBezTo>
                    <a:pt x="3" y="12"/>
                    <a:pt x="3" y="12"/>
                    <a:pt x="3" y="12"/>
                  </a:cubicBezTo>
                  <a:cubicBezTo>
                    <a:pt x="3" y="12"/>
                    <a:pt x="3" y="12"/>
                    <a:pt x="3" y="12"/>
                  </a:cubicBezTo>
                  <a:moveTo>
                    <a:pt x="3" y="11"/>
                  </a:moveTo>
                  <a:cubicBezTo>
                    <a:pt x="3" y="11"/>
                    <a:pt x="3" y="11"/>
                    <a:pt x="3" y="11"/>
                  </a:cubicBezTo>
                  <a:cubicBezTo>
                    <a:pt x="3" y="11"/>
                    <a:pt x="3" y="11"/>
                    <a:pt x="3" y="11"/>
                  </a:cubicBezTo>
                  <a:moveTo>
                    <a:pt x="3" y="10"/>
                  </a:moveTo>
                  <a:cubicBezTo>
                    <a:pt x="3" y="10"/>
                    <a:pt x="3" y="10"/>
                    <a:pt x="3" y="10"/>
                  </a:cubicBezTo>
                  <a:cubicBezTo>
                    <a:pt x="3" y="10"/>
                    <a:pt x="3" y="10"/>
                    <a:pt x="3" y="10"/>
                  </a:cubicBezTo>
                  <a:moveTo>
                    <a:pt x="4" y="8"/>
                  </a:moveTo>
                  <a:cubicBezTo>
                    <a:pt x="4" y="8"/>
                    <a:pt x="4" y="8"/>
                    <a:pt x="4" y="9"/>
                  </a:cubicBezTo>
                  <a:cubicBezTo>
                    <a:pt x="4" y="8"/>
                    <a:pt x="4" y="8"/>
                    <a:pt x="4" y="8"/>
                  </a:cubicBezTo>
                  <a:moveTo>
                    <a:pt x="4" y="7"/>
                  </a:moveTo>
                  <a:cubicBezTo>
                    <a:pt x="4" y="8"/>
                    <a:pt x="4" y="8"/>
                    <a:pt x="4" y="8"/>
                  </a:cubicBezTo>
                  <a:cubicBezTo>
                    <a:pt x="4" y="8"/>
                    <a:pt x="4" y="8"/>
                    <a:pt x="4" y="7"/>
                  </a:cubicBezTo>
                  <a:moveTo>
                    <a:pt x="4" y="7"/>
                  </a:moveTo>
                  <a:cubicBezTo>
                    <a:pt x="4" y="7"/>
                    <a:pt x="4" y="7"/>
                    <a:pt x="4" y="7"/>
                  </a:cubicBezTo>
                  <a:cubicBezTo>
                    <a:pt x="4" y="7"/>
                    <a:pt x="4" y="7"/>
                    <a:pt x="4" y="7"/>
                  </a:cubicBezTo>
                  <a:moveTo>
                    <a:pt x="4" y="4"/>
                  </a:moveTo>
                  <a:cubicBezTo>
                    <a:pt x="4" y="4"/>
                    <a:pt x="4" y="4"/>
                    <a:pt x="4" y="4"/>
                  </a:cubicBezTo>
                  <a:cubicBezTo>
                    <a:pt x="4" y="4"/>
                    <a:pt x="4" y="4"/>
                    <a:pt x="4" y="4"/>
                  </a:cubicBezTo>
                  <a:moveTo>
                    <a:pt x="4" y="3"/>
                  </a:moveTo>
                  <a:cubicBezTo>
                    <a:pt x="4" y="3"/>
                    <a:pt x="4" y="4"/>
                    <a:pt x="4" y="4"/>
                  </a:cubicBezTo>
                  <a:cubicBezTo>
                    <a:pt x="4" y="4"/>
                    <a:pt x="4" y="3"/>
                    <a:pt x="4" y="3"/>
                  </a:cubicBezTo>
                  <a:moveTo>
                    <a:pt x="5" y="0"/>
                  </a:moveTo>
                  <a:cubicBezTo>
                    <a:pt x="5" y="0"/>
                    <a:pt x="5" y="0"/>
                    <a:pt x="5" y="0"/>
                  </a:cubicBezTo>
                  <a:cubicBezTo>
                    <a:pt x="5" y="0"/>
                    <a:pt x="5" y="0"/>
                    <a:pt x="5" y="0"/>
                  </a:cubicBezTo>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61" name="Freeform 122"/>
            <p:cNvSpPr>
              <a:spLocks noEditPoints="1"/>
            </p:cNvSpPr>
            <p:nvPr/>
          </p:nvSpPr>
          <p:spPr bwMode="auto">
            <a:xfrm>
              <a:off x="5331848" y="4471234"/>
              <a:ext cx="743227" cy="737313"/>
            </a:xfrm>
            <a:custGeom>
              <a:avLst/>
              <a:gdLst>
                <a:gd name="T0" fmla="*/ 337 w 349"/>
                <a:gd name="T1" fmla="*/ 346 h 346"/>
                <a:gd name="T2" fmla="*/ 337 w 349"/>
                <a:gd name="T3" fmla="*/ 346 h 346"/>
                <a:gd name="T4" fmla="*/ 337 w 349"/>
                <a:gd name="T5" fmla="*/ 346 h 346"/>
                <a:gd name="T6" fmla="*/ 338 w 349"/>
                <a:gd name="T7" fmla="*/ 346 h 346"/>
                <a:gd name="T8" fmla="*/ 338 w 349"/>
                <a:gd name="T9" fmla="*/ 346 h 346"/>
                <a:gd name="T10" fmla="*/ 338 w 349"/>
                <a:gd name="T11" fmla="*/ 346 h 346"/>
                <a:gd name="T12" fmla="*/ 340 w 349"/>
                <a:gd name="T13" fmla="*/ 346 h 346"/>
                <a:gd name="T14" fmla="*/ 340 w 349"/>
                <a:gd name="T15" fmla="*/ 346 h 346"/>
                <a:gd name="T16" fmla="*/ 340 w 349"/>
                <a:gd name="T17" fmla="*/ 346 h 346"/>
                <a:gd name="T18" fmla="*/ 341 w 349"/>
                <a:gd name="T19" fmla="*/ 346 h 346"/>
                <a:gd name="T20" fmla="*/ 341 w 349"/>
                <a:gd name="T21" fmla="*/ 346 h 346"/>
                <a:gd name="T22" fmla="*/ 341 w 349"/>
                <a:gd name="T23" fmla="*/ 346 h 346"/>
                <a:gd name="T24" fmla="*/ 343 w 349"/>
                <a:gd name="T25" fmla="*/ 346 h 346"/>
                <a:gd name="T26" fmla="*/ 343 w 349"/>
                <a:gd name="T27" fmla="*/ 346 h 346"/>
                <a:gd name="T28" fmla="*/ 343 w 349"/>
                <a:gd name="T29" fmla="*/ 346 h 346"/>
                <a:gd name="T30" fmla="*/ 344 w 349"/>
                <a:gd name="T31" fmla="*/ 346 h 346"/>
                <a:gd name="T32" fmla="*/ 344 w 349"/>
                <a:gd name="T33" fmla="*/ 346 h 346"/>
                <a:gd name="T34" fmla="*/ 344 w 349"/>
                <a:gd name="T35" fmla="*/ 346 h 346"/>
                <a:gd name="T36" fmla="*/ 346 w 349"/>
                <a:gd name="T37" fmla="*/ 346 h 346"/>
                <a:gd name="T38" fmla="*/ 346 w 349"/>
                <a:gd name="T39" fmla="*/ 346 h 346"/>
                <a:gd name="T40" fmla="*/ 346 w 349"/>
                <a:gd name="T41" fmla="*/ 346 h 346"/>
                <a:gd name="T42" fmla="*/ 347 w 349"/>
                <a:gd name="T43" fmla="*/ 346 h 346"/>
                <a:gd name="T44" fmla="*/ 347 w 349"/>
                <a:gd name="T45" fmla="*/ 346 h 346"/>
                <a:gd name="T46" fmla="*/ 347 w 349"/>
                <a:gd name="T47" fmla="*/ 346 h 346"/>
                <a:gd name="T48" fmla="*/ 349 w 349"/>
                <a:gd name="T49" fmla="*/ 346 h 346"/>
                <a:gd name="T50" fmla="*/ 349 w 349"/>
                <a:gd name="T51" fmla="*/ 346 h 346"/>
                <a:gd name="T52" fmla="*/ 349 w 349"/>
                <a:gd name="T53" fmla="*/ 346 h 346"/>
                <a:gd name="T54" fmla="*/ 0 w 349"/>
                <a:gd name="T55" fmla="*/ 10 h 346"/>
                <a:gd name="T56" fmla="*/ 0 w 349"/>
                <a:gd name="T57" fmla="*/ 10 h 346"/>
                <a:gd name="T58" fmla="*/ 0 w 349"/>
                <a:gd name="T59" fmla="*/ 10 h 346"/>
                <a:gd name="T60" fmla="*/ 0 w 349"/>
                <a:gd name="T61" fmla="*/ 10 h 346"/>
                <a:gd name="T62" fmla="*/ 0 w 349"/>
                <a:gd name="T63" fmla="*/ 9 h 346"/>
                <a:gd name="T64" fmla="*/ 0 w 349"/>
                <a:gd name="T65" fmla="*/ 9 h 346"/>
                <a:gd name="T66" fmla="*/ 0 w 349"/>
                <a:gd name="T67" fmla="*/ 9 h 346"/>
                <a:gd name="T68" fmla="*/ 0 w 349"/>
                <a:gd name="T69" fmla="*/ 9 h 346"/>
                <a:gd name="T70" fmla="*/ 0 w 349"/>
                <a:gd name="T71" fmla="*/ 8 h 346"/>
                <a:gd name="T72" fmla="*/ 0 w 349"/>
                <a:gd name="T73" fmla="*/ 8 h 346"/>
                <a:gd name="T74" fmla="*/ 0 w 349"/>
                <a:gd name="T75" fmla="*/ 8 h 346"/>
                <a:gd name="T76" fmla="*/ 0 w 349"/>
                <a:gd name="T77" fmla="*/ 8 h 346"/>
                <a:gd name="T78" fmla="*/ 0 w 349"/>
                <a:gd name="T79" fmla="*/ 7 h 346"/>
                <a:gd name="T80" fmla="*/ 0 w 349"/>
                <a:gd name="T81" fmla="*/ 7 h 346"/>
                <a:gd name="T82" fmla="*/ 0 w 349"/>
                <a:gd name="T83" fmla="*/ 7 h 346"/>
                <a:gd name="T84" fmla="*/ 0 w 349"/>
                <a:gd name="T85" fmla="*/ 6 h 346"/>
                <a:gd name="T86" fmla="*/ 0 w 349"/>
                <a:gd name="T87" fmla="*/ 6 h 346"/>
                <a:gd name="T88" fmla="*/ 0 w 349"/>
                <a:gd name="T89" fmla="*/ 6 h 346"/>
                <a:gd name="T90" fmla="*/ 0 w 349"/>
                <a:gd name="T91" fmla="*/ 6 h 346"/>
                <a:gd name="T92" fmla="*/ 0 w 349"/>
                <a:gd name="T93" fmla="*/ 5 h 346"/>
                <a:gd name="T94" fmla="*/ 0 w 349"/>
                <a:gd name="T95" fmla="*/ 5 h 346"/>
                <a:gd name="T96" fmla="*/ 0 w 349"/>
                <a:gd name="T97" fmla="*/ 5 h 346"/>
                <a:gd name="T98" fmla="*/ 0 w 349"/>
                <a:gd name="T99" fmla="*/ 5 h 346"/>
                <a:gd name="T100" fmla="*/ 0 w 349"/>
                <a:gd name="T101" fmla="*/ 4 h 346"/>
                <a:gd name="T102" fmla="*/ 0 w 349"/>
                <a:gd name="T103" fmla="*/ 4 h 346"/>
                <a:gd name="T104" fmla="*/ 0 w 349"/>
                <a:gd name="T105" fmla="*/ 4 h 346"/>
                <a:gd name="T106" fmla="*/ 0 w 349"/>
                <a:gd name="T107" fmla="*/ 4 h 346"/>
                <a:gd name="T108" fmla="*/ 0 w 349"/>
                <a:gd name="T109" fmla="*/ 3 h 346"/>
                <a:gd name="T110" fmla="*/ 0 w 349"/>
                <a:gd name="T111" fmla="*/ 3 h 346"/>
                <a:gd name="T112" fmla="*/ 0 w 349"/>
                <a:gd name="T113" fmla="*/ 3 h 346"/>
                <a:gd name="T114" fmla="*/ 0 w 349"/>
                <a:gd name="T115" fmla="*/ 1 h 346"/>
                <a:gd name="T116" fmla="*/ 0 w 349"/>
                <a:gd name="T117" fmla="*/ 1 h 346"/>
                <a:gd name="T118" fmla="*/ 0 w 349"/>
                <a:gd name="T119" fmla="*/ 1 h 346"/>
                <a:gd name="T120" fmla="*/ 0 w 349"/>
                <a:gd name="T121" fmla="*/ 0 h 346"/>
                <a:gd name="T122" fmla="*/ 0 w 349"/>
                <a:gd name="T123" fmla="*/ 0 h 346"/>
                <a:gd name="T124" fmla="*/ 0 w 349"/>
                <a:gd name="T12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 h="346">
                  <a:moveTo>
                    <a:pt x="337" y="346"/>
                  </a:moveTo>
                  <a:cubicBezTo>
                    <a:pt x="337" y="346"/>
                    <a:pt x="337" y="346"/>
                    <a:pt x="337" y="346"/>
                  </a:cubicBezTo>
                  <a:cubicBezTo>
                    <a:pt x="337" y="346"/>
                    <a:pt x="337" y="346"/>
                    <a:pt x="337" y="346"/>
                  </a:cubicBezTo>
                  <a:moveTo>
                    <a:pt x="338" y="346"/>
                  </a:moveTo>
                  <a:cubicBezTo>
                    <a:pt x="338" y="346"/>
                    <a:pt x="338" y="346"/>
                    <a:pt x="338" y="346"/>
                  </a:cubicBezTo>
                  <a:cubicBezTo>
                    <a:pt x="338" y="346"/>
                    <a:pt x="338" y="346"/>
                    <a:pt x="338" y="346"/>
                  </a:cubicBezTo>
                  <a:moveTo>
                    <a:pt x="340" y="346"/>
                  </a:moveTo>
                  <a:cubicBezTo>
                    <a:pt x="340" y="346"/>
                    <a:pt x="340" y="346"/>
                    <a:pt x="340" y="346"/>
                  </a:cubicBezTo>
                  <a:cubicBezTo>
                    <a:pt x="340" y="346"/>
                    <a:pt x="340" y="346"/>
                    <a:pt x="340" y="346"/>
                  </a:cubicBezTo>
                  <a:moveTo>
                    <a:pt x="341" y="346"/>
                  </a:moveTo>
                  <a:cubicBezTo>
                    <a:pt x="341" y="346"/>
                    <a:pt x="341" y="346"/>
                    <a:pt x="341" y="346"/>
                  </a:cubicBezTo>
                  <a:cubicBezTo>
                    <a:pt x="341" y="346"/>
                    <a:pt x="341" y="346"/>
                    <a:pt x="341" y="346"/>
                  </a:cubicBezTo>
                  <a:moveTo>
                    <a:pt x="343" y="346"/>
                  </a:moveTo>
                  <a:cubicBezTo>
                    <a:pt x="343" y="346"/>
                    <a:pt x="343" y="346"/>
                    <a:pt x="343" y="346"/>
                  </a:cubicBezTo>
                  <a:cubicBezTo>
                    <a:pt x="343" y="346"/>
                    <a:pt x="343" y="346"/>
                    <a:pt x="343" y="346"/>
                  </a:cubicBezTo>
                  <a:moveTo>
                    <a:pt x="344" y="346"/>
                  </a:moveTo>
                  <a:cubicBezTo>
                    <a:pt x="344" y="346"/>
                    <a:pt x="344" y="346"/>
                    <a:pt x="344" y="346"/>
                  </a:cubicBezTo>
                  <a:cubicBezTo>
                    <a:pt x="344" y="346"/>
                    <a:pt x="344" y="346"/>
                    <a:pt x="344" y="346"/>
                  </a:cubicBezTo>
                  <a:moveTo>
                    <a:pt x="346" y="346"/>
                  </a:moveTo>
                  <a:cubicBezTo>
                    <a:pt x="346" y="346"/>
                    <a:pt x="346" y="346"/>
                    <a:pt x="346" y="346"/>
                  </a:cubicBezTo>
                  <a:cubicBezTo>
                    <a:pt x="346" y="346"/>
                    <a:pt x="346" y="346"/>
                    <a:pt x="346" y="346"/>
                  </a:cubicBezTo>
                  <a:moveTo>
                    <a:pt x="347" y="346"/>
                  </a:moveTo>
                  <a:cubicBezTo>
                    <a:pt x="347" y="346"/>
                    <a:pt x="347" y="346"/>
                    <a:pt x="347" y="346"/>
                  </a:cubicBezTo>
                  <a:cubicBezTo>
                    <a:pt x="347" y="346"/>
                    <a:pt x="347" y="346"/>
                    <a:pt x="347" y="346"/>
                  </a:cubicBezTo>
                  <a:moveTo>
                    <a:pt x="349" y="346"/>
                  </a:moveTo>
                  <a:cubicBezTo>
                    <a:pt x="349" y="346"/>
                    <a:pt x="349" y="346"/>
                    <a:pt x="349" y="346"/>
                  </a:cubicBezTo>
                  <a:cubicBezTo>
                    <a:pt x="349" y="346"/>
                    <a:pt x="349" y="346"/>
                    <a:pt x="349" y="346"/>
                  </a:cubicBezTo>
                  <a:moveTo>
                    <a:pt x="0" y="10"/>
                  </a:moveTo>
                  <a:cubicBezTo>
                    <a:pt x="0" y="10"/>
                    <a:pt x="0" y="10"/>
                    <a:pt x="0" y="10"/>
                  </a:cubicBezTo>
                  <a:cubicBezTo>
                    <a:pt x="0" y="10"/>
                    <a:pt x="0" y="10"/>
                    <a:pt x="0" y="10"/>
                  </a:cubicBezTo>
                  <a:cubicBezTo>
                    <a:pt x="0" y="10"/>
                    <a:pt x="0" y="10"/>
                    <a:pt x="0" y="10"/>
                  </a:cubicBezTo>
                  <a:moveTo>
                    <a:pt x="0" y="9"/>
                  </a:moveTo>
                  <a:cubicBezTo>
                    <a:pt x="0" y="9"/>
                    <a:pt x="0" y="9"/>
                    <a:pt x="0" y="9"/>
                  </a:cubicBezTo>
                  <a:cubicBezTo>
                    <a:pt x="0" y="9"/>
                    <a:pt x="0" y="9"/>
                    <a:pt x="0" y="9"/>
                  </a:cubicBezTo>
                  <a:cubicBezTo>
                    <a:pt x="0" y="9"/>
                    <a:pt x="0" y="9"/>
                    <a:pt x="0" y="9"/>
                  </a:cubicBezTo>
                  <a:moveTo>
                    <a:pt x="0" y="8"/>
                  </a:moveTo>
                  <a:cubicBezTo>
                    <a:pt x="0" y="8"/>
                    <a:pt x="0" y="8"/>
                    <a:pt x="0" y="8"/>
                  </a:cubicBezTo>
                  <a:cubicBezTo>
                    <a:pt x="0" y="8"/>
                    <a:pt x="0" y="8"/>
                    <a:pt x="0" y="8"/>
                  </a:cubicBezTo>
                  <a:cubicBezTo>
                    <a:pt x="0" y="8"/>
                    <a:pt x="0" y="8"/>
                    <a:pt x="0" y="8"/>
                  </a:cubicBezTo>
                  <a:moveTo>
                    <a:pt x="0" y="7"/>
                  </a:moveTo>
                  <a:cubicBezTo>
                    <a:pt x="0" y="7"/>
                    <a:pt x="0" y="7"/>
                    <a:pt x="0" y="7"/>
                  </a:cubicBezTo>
                  <a:cubicBezTo>
                    <a:pt x="0" y="7"/>
                    <a:pt x="0" y="7"/>
                    <a:pt x="0" y="7"/>
                  </a:cubicBezTo>
                  <a:moveTo>
                    <a:pt x="0" y="6"/>
                  </a:moveTo>
                  <a:cubicBezTo>
                    <a:pt x="0" y="6"/>
                    <a:pt x="0" y="6"/>
                    <a:pt x="0" y="6"/>
                  </a:cubicBezTo>
                  <a:cubicBezTo>
                    <a:pt x="0" y="6"/>
                    <a:pt x="0" y="6"/>
                    <a:pt x="0" y="6"/>
                  </a:cubicBezTo>
                  <a:cubicBezTo>
                    <a:pt x="0" y="6"/>
                    <a:pt x="0" y="6"/>
                    <a:pt x="0" y="6"/>
                  </a:cubicBezTo>
                  <a:moveTo>
                    <a:pt x="0" y="5"/>
                  </a:moveTo>
                  <a:cubicBezTo>
                    <a:pt x="0" y="5"/>
                    <a:pt x="0" y="5"/>
                    <a:pt x="0" y="5"/>
                  </a:cubicBezTo>
                  <a:cubicBezTo>
                    <a:pt x="0" y="5"/>
                    <a:pt x="0" y="5"/>
                    <a:pt x="0" y="5"/>
                  </a:cubicBezTo>
                  <a:cubicBezTo>
                    <a:pt x="0" y="5"/>
                    <a:pt x="0" y="5"/>
                    <a:pt x="0" y="5"/>
                  </a:cubicBezTo>
                  <a:moveTo>
                    <a:pt x="0" y="4"/>
                  </a:moveTo>
                  <a:cubicBezTo>
                    <a:pt x="0" y="4"/>
                    <a:pt x="0" y="4"/>
                    <a:pt x="0" y="4"/>
                  </a:cubicBezTo>
                  <a:cubicBezTo>
                    <a:pt x="0" y="4"/>
                    <a:pt x="0" y="4"/>
                    <a:pt x="0" y="4"/>
                  </a:cubicBezTo>
                  <a:cubicBezTo>
                    <a:pt x="0" y="4"/>
                    <a:pt x="0" y="4"/>
                    <a:pt x="0" y="4"/>
                  </a:cubicBezTo>
                  <a:moveTo>
                    <a:pt x="0" y="3"/>
                  </a:moveTo>
                  <a:cubicBezTo>
                    <a:pt x="0" y="3"/>
                    <a:pt x="0" y="3"/>
                    <a:pt x="0" y="3"/>
                  </a:cubicBezTo>
                  <a:cubicBezTo>
                    <a:pt x="0" y="3"/>
                    <a:pt x="0" y="3"/>
                    <a:pt x="0" y="3"/>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62" name="Freeform 124"/>
            <p:cNvSpPr>
              <a:spLocks noEditPoints="1"/>
            </p:cNvSpPr>
            <p:nvPr/>
          </p:nvSpPr>
          <p:spPr bwMode="auto">
            <a:xfrm>
              <a:off x="5331848" y="4463348"/>
              <a:ext cx="1971" cy="31543"/>
            </a:xfrm>
            <a:custGeom>
              <a:avLst/>
              <a:gdLst>
                <a:gd name="T0" fmla="*/ 0 w 1"/>
                <a:gd name="T1" fmla="*/ 14 h 15"/>
                <a:gd name="T2" fmla="*/ 0 w 1"/>
                <a:gd name="T3" fmla="*/ 14 h 15"/>
                <a:gd name="T4" fmla="*/ 0 w 1"/>
                <a:gd name="T5" fmla="*/ 15 h 15"/>
                <a:gd name="T6" fmla="*/ 0 w 1"/>
                <a:gd name="T7" fmla="*/ 15 h 15"/>
                <a:gd name="T8" fmla="*/ 0 w 1"/>
                <a:gd name="T9" fmla="*/ 15 h 15"/>
                <a:gd name="T10" fmla="*/ 0 w 1"/>
                <a:gd name="T11" fmla="*/ 14 h 15"/>
                <a:gd name="T12" fmla="*/ 0 w 1"/>
                <a:gd name="T13" fmla="*/ 13 h 15"/>
                <a:gd name="T14" fmla="*/ 0 w 1"/>
                <a:gd name="T15" fmla="*/ 13 h 15"/>
                <a:gd name="T16" fmla="*/ 0 w 1"/>
                <a:gd name="T17" fmla="*/ 14 h 15"/>
                <a:gd name="T18" fmla="*/ 0 w 1"/>
                <a:gd name="T19" fmla="*/ 13 h 15"/>
                <a:gd name="T20" fmla="*/ 0 w 1"/>
                <a:gd name="T21" fmla="*/ 12 h 15"/>
                <a:gd name="T22" fmla="*/ 0 w 1"/>
                <a:gd name="T23" fmla="*/ 12 h 15"/>
                <a:gd name="T24" fmla="*/ 0 w 1"/>
                <a:gd name="T25" fmla="*/ 12 h 15"/>
                <a:gd name="T26" fmla="*/ 0 w 1"/>
                <a:gd name="T27" fmla="*/ 12 h 15"/>
                <a:gd name="T28" fmla="*/ 0 w 1"/>
                <a:gd name="T29" fmla="*/ 11 h 15"/>
                <a:gd name="T30" fmla="*/ 0 w 1"/>
                <a:gd name="T31" fmla="*/ 11 h 15"/>
                <a:gd name="T32" fmla="*/ 0 w 1"/>
                <a:gd name="T33" fmla="*/ 11 h 15"/>
                <a:gd name="T34" fmla="*/ 0 w 1"/>
                <a:gd name="T35" fmla="*/ 11 h 15"/>
                <a:gd name="T36" fmla="*/ 0 w 1"/>
                <a:gd name="T37" fmla="*/ 11 h 15"/>
                <a:gd name="T38" fmla="*/ 0 w 1"/>
                <a:gd name="T39" fmla="*/ 10 h 15"/>
                <a:gd name="T40" fmla="*/ 0 w 1"/>
                <a:gd name="T41" fmla="*/ 10 h 15"/>
                <a:gd name="T42" fmla="*/ 0 w 1"/>
                <a:gd name="T43" fmla="*/ 10 h 15"/>
                <a:gd name="T44" fmla="*/ 0 w 1"/>
                <a:gd name="T45" fmla="*/ 10 h 15"/>
                <a:gd name="T46" fmla="*/ 0 w 1"/>
                <a:gd name="T47" fmla="*/ 9 h 15"/>
                <a:gd name="T48" fmla="*/ 0 w 1"/>
                <a:gd name="T49" fmla="*/ 9 h 15"/>
                <a:gd name="T50" fmla="*/ 0 w 1"/>
                <a:gd name="T51" fmla="*/ 9 h 15"/>
                <a:gd name="T52" fmla="*/ 0 w 1"/>
                <a:gd name="T53" fmla="*/ 9 h 15"/>
                <a:gd name="T54" fmla="*/ 0 w 1"/>
                <a:gd name="T55" fmla="*/ 8 h 15"/>
                <a:gd name="T56" fmla="*/ 0 w 1"/>
                <a:gd name="T57" fmla="*/ 8 h 15"/>
                <a:gd name="T58" fmla="*/ 0 w 1"/>
                <a:gd name="T59" fmla="*/ 8 h 15"/>
                <a:gd name="T60" fmla="*/ 0 w 1"/>
                <a:gd name="T61" fmla="*/ 8 h 15"/>
                <a:gd name="T62" fmla="*/ 0 w 1"/>
                <a:gd name="T63" fmla="*/ 7 h 15"/>
                <a:gd name="T64" fmla="*/ 0 w 1"/>
                <a:gd name="T65" fmla="*/ 7 h 15"/>
                <a:gd name="T66" fmla="*/ 0 w 1"/>
                <a:gd name="T67" fmla="*/ 7 h 15"/>
                <a:gd name="T68" fmla="*/ 0 w 1"/>
                <a:gd name="T69" fmla="*/ 7 h 15"/>
                <a:gd name="T70" fmla="*/ 0 w 1"/>
                <a:gd name="T71" fmla="*/ 7 h 15"/>
                <a:gd name="T72" fmla="*/ 0 w 1"/>
                <a:gd name="T73" fmla="*/ 6 h 15"/>
                <a:gd name="T74" fmla="*/ 0 w 1"/>
                <a:gd name="T75" fmla="*/ 6 h 15"/>
                <a:gd name="T76" fmla="*/ 0 w 1"/>
                <a:gd name="T77" fmla="*/ 6 h 15"/>
                <a:gd name="T78" fmla="*/ 0 w 1"/>
                <a:gd name="T79" fmla="*/ 5 h 15"/>
                <a:gd name="T80" fmla="*/ 0 w 1"/>
                <a:gd name="T81" fmla="*/ 5 h 15"/>
                <a:gd name="T82" fmla="*/ 0 w 1"/>
                <a:gd name="T83" fmla="*/ 5 h 15"/>
                <a:gd name="T84" fmla="*/ 0 w 1"/>
                <a:gd name="T85" fmla="*/ 5 h 15"/>
                <a:gd name="T86" fmla="*/ 0 w 1"/>
                <a:gd name="T87" fmla="*/ 5 h 15"/>
                <a:gd name="T88" fmla="*/ 0 w 1"/>
                <a:gd name="T89" fmla="*/ 3 h 15"/>
                <a:gd name="T90" fmla="*/ 0 w 1"/>
                <a:gd name="T91" fmla="*/ 4 h 15"/>
                <a:gd name="T92" fmla="*/ 0 w 1"/>
                <a:gd name="T93" fmla="*/ 4 h 15"/>
                <a:gd name="T94" fmla="*/ 0 w 1"/>
                <a:gd name="T95" fmla="*/ 4 h 15"/>
                <a:gd name="T96" fmla="*/ 0 w 1"/>
                <a:gd name="T97" fmla="*/ 3 h 15"/>
                <a:gd name="T98" fmla="*/ 0 w 1"/>
                <a:gd name="T99" fmla="*/ 2 h 15"/>
                <a:gd name="T100" fmla="*/ 0 w 1"/>
                <a:gd name="T101" fmla="*/ 3 h 15"/>
                <a:gd name="T102" fmla="*/ 0 w 1"/>
                <a:gd name="T103" fmla="*/ 2 h 15"/>
                <a:gd name="T104" fmla="*/ 0 w 1"/>
                <a:gd name="T105" fmla="*/ 1 h 15"/>
                <a:gd name="T106" fmla="*/ 0 w 1"/>
                <a:gd name="T107" fmla="*/ 2 h 15"/>
                <a:gd name="T108" fmla="*/ 0 w 1"/>
                <a:gd name="T109" fmla="*/ 1 h 15"/>
                <a:gd name="T110" fmla="*/ 1 w 1"/>
                <a:gd name="T111" fmla="*/ 0 h 15"/>
                <a:gd name="T112" fmla="*/ 1 w 1"/>
                <a:gd name="T113" fmla="*/ 1 h 15"/>
                <a:gd name="T114" fmla="*/ 1 w 1"/>
                <a:gd name="T11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 h="15">
                  <a:moveTo>
                    <a:pt x="0" y="14"/>
                  </a:moveTo>
                  <a:cubicBezTo>
                    <a:pt x="0" y="14"/>
                    <a:pt x="0" y="14"/>
                    <a:pt x="0" y="14"/>
                  </a:cubicBezTo>
                  <a:cubicBezTo>
                    <a:pt x="0" y="14"/>
                    <a:pt x="0" y="15"/>
                    <a:pt x="0" y="15"/>
                  </a:cubicBezTo>
                  <a:cubicBezTo>
                    <a:pt x="0" y="15"/>
                    <a:pt x="0" y="15"/>
                    <a:pt x="0" y="15"/>
                  </a:cubicBezTo>
                  <a:cubicBezTo>
                    <a:pt x="0" y="15"/>
                    <a:pt x="0" y="15"/>
                    <a:pt x="0" y="15"/>
                  </a:cubicBezTo>
                  <a:cubicBezTo>
                    <a:pt x="0" y="15"/>
                    <a:pt x="0" y="14"/>
                    <a:pt x="0" y="14"/>
                  </a:cubicBezTo>
                  <a:moveTo>
                    <a:pt x="0" y="13"/>
                  </a:moveTo>
                  <a:cubicBezTo>
                    <a:pt x="0" y="13"/>
                    <a:pt x="0" y="13"/>
                    <a:pt x="0" y="13"/>
                  </a:cubicBezTo>
                  <a:cubicBezTo>
                    <a:pt x="0" y="13"/>
                    <a:pt x="0" y="13"/>
                    <a:pt x="0" y="14"/>
                  </a:cubicBezTo>
                  <a:cubicBezTo>
                    <a:pt x="0" y="13"/>
                    <a:pt x="0" y="13"/>
                    <a:pt x="0" y="13"/>
                  </a:cubicBezTo>
                  <a:moveTo>
                    <a:pt x="0" y="12"/>
                  </a:moveTo>
                  <a:cubicBezTo>
                    <a:pt x="0" y="12"/>
                    <a:pt x="0" y="12"/>
                    <a:pt x="0" y="12"/>
                  </a:cubicBezTo>
                  <a:cubicBezTo>
                    <a:pt x="0" y="12"/>
                    <a:pt x="0" y="12"/>
                    <a:pt x="0" y="12"/>
                  </a:cubicBezTo>
                  <a:cubicBezTo>
                    <a:pt x="0" y="12"/>
                    <a:pt x="0" y="12"/>
                    <a:pt x="0" y="12"/>
                  </a:cubicBezTo>
                  <a:moveTo>
                    <a:pt x="0" y="11"/>
                  </a:moveTo>
                  <a:cubicBezTo>
                    <a:pt x="0" y="11"/>
                    <a:pt x="0" y="11"/>
                    <a:pt x="0" y="11"/>
                  </a:cubicBezTo>
                  <a:cubicBezTo>
                    <a:pt x="0" y="11"/>
                    <a:pt x="0" y="11"/>
                    <a:pt x="0" y="11"/>
                  </a:cubicBezTo>
                  <a:cubicBezTo>
                    <a:pt x="0" y="11"/>
                    <a:pt x="0" y="11"/>
                    <a:pt x="0" y="11"/>
                  </a:cubicBezTo>
                  <a:cubicBezTo>
                    <a:pt x="0" y="11"/>
                    <a:pt x="0" y="11"/>
                    <a:pt x="0" y="11"/>
                  </a:cubicBezTo>
                  <a:moveTo>
                    <a:pt x="0" y="10"/>
                  </a:moveTo>
                  <a:cubicBezTo>
                    <a:pt x="0" y="10"/>
                    <a:pt x="0" y="10"/>
                    <a:pt x="0" y="10"/>
                  </a:cubicBezTo>
                  <a:cubicBezTo>
                    <a:pt x="0" y="10"/>
                    <a:pt x="0" y="10"/>
                    <a:pt x="0" y="10"/>
                  </a:cubicBezTo>
                  <a:cubicBezTo>
                    <a:pt x="0" y="10"/>
                    <a:pt x="0" y="10"/>
                    <a:pt x="0" y="10"/>
                  </a:cubicBezTo>
                  <a:moveTo>
                    <a:pt x="0" y="9"/>
                  </a:moveTo>
                  <a:cubicBezTo>
                    <a:pt x="0" y="9"/>
                    <a:pt x="0" y="9"/>
                    <a:pt x="0" y="9"/>
                  </a:cubicBezTo>
                  <a:cubicBezTo>
                    <a:pt x="0" y="9"/>
                    <a:pt x="0" y="9"/>
                    <a:pt x="0" y="9"/>
                  </a:cubicBezTo>
                  <a:cubicBezTo>
                    <a:pt x="0" y="9"/>
                    <a:pt x="0" y="9"/>
                    <a:pt x="0" y="9"/>
                  </a:cubicBezTo>
                  <a:moveTo>
                    <a:pt x="0" y="8"/>
                  </a:moveTo>
                  <a:cubicBezTo>
                    <a:pt x="0" y="8"/>
                    <a:pt x="0" y="8"/>
                    <a:pt x="0" y="8"/>
                  </a:cubicBezTo>
                  <a:cubicBezTo>
                    <a:pt x="0" y="8"/>
                    <a:pt x="0" y="8"/>
                    <a:pt x="0" y="8"/>
                  </a:cubicBezTo>
                  <a:cubicBezTo>
                    <a:pt x="0" y="8"/>
                    <a:pt x="0" y="8"/>
                    <a:pt x="0" y="8"/>
                  </a:cubicBezTo>
                  <a:moveTo>
                    <a:pt x="0" y="7"/>
                  </a:moveTo>
                  <a:cubicBezTo>
                    <a:pt x="0" y="7"/>
                    <a:pt x="0" y="7"/>
                    <a:pt x="0" y="7"/>
                  </a:cubicBezTo>
                  <a:cubicBezTo>
                    <a:pt x="0" y="7"/>
                    <a:pt x="0" y="7"/>
                    <a:pt x="0" y="7"/>
                  </a:cubicBezTo>
                  <a:cubicBezTo>
                    <a:pt x="0" y="7"/>
                    <a:pt x="0" y="7"/>
                    <a:pt x="0" y="7"/>
                  </a:cubicBezTo>
                  <a:cubicBezTo>
                    <a:pt x="0" y="7"/>
                    <a:pt x="0" y="7"/>
                    <a:pt x="0" y="7"/>
                  </a:cubicBezTo>
                  <a:moveTo>
                    <a:pt x="0" y="6"/>
                  </a:moveTo>
                  <a:cubicBezTo>
                    <a:pt x="0" y="6"/>
                    <a:pt x="0" y="6"/>
                    <a:pt x="0" y="6"/>
                  </a:cubicBezTo>
                  <a:cubicBezTo>
                    <a:pt x="0" y="6"/>
                    <a:pt x="0" y="6"/>
                    <a:pt x="0" y="6"/>
                  </a:cubicBezTo>
                  <a:moveTo>
                    <a:pt x="0" y="5"/>
                  </a:moveTo>
                  <a:cubicBezTo>
                    <a:pt x="0" y="5"/>
                    <a:pt x="0" y="5"/>
                    <a:pt x="0" y="5"/>
                  </a:cubicBezTo>
                  <a:cubicBezTo>
                    <a:pt x="0" y="5"/>
                    <a:pt x="0" y="5"/>
                    <a:pt x="0" y="5"/>
                  </a:cubicBezTo>
                  <a:cubicBezTo>
                    <a:pt x="0" y="5"/>
                    <a:pt x="0" y="5"/>
                    <a:pt x="0" y="5"/>
                  </a:cubicBezTo>
                  <a:cubicBezTo>
                    <a:pt x="0" y="5"/>
                    <a:pt x="0" y="5"/>
                    <a:pt x="0" y="5"/>
                  </a:cubicBezTo>
                  <a:moveTo>
                    <a:pt x="0" y="3"/>
                  </a:moveTo>
                  <a:cubicBezTo>
                    <a:pt x="0" y="4"/>
                    <a:pt x="0" y="4"/>
                    <a:pt x="0" y="4"/>
                  </a:cubicBezTo>
                  <a:cubicBezTo>
                    <a:pt x="0" y="4"/>
                    <a:pt x="0" y="4"/>
                    <a:pt x="0" y="4"/>
                  </a:cubicBezTo>
                  <a:cubicBezTo>
                    <a:pt x="0" y="4"/>
                    <a:pt x="0" y="4"/>
                    <a:pt x="0" y="4"/>
                  </a:cubicBezTo>
                  <a:cubicBezTo>
                    <a:pt x="0" y="4"/>
                    <a:pt x="0" y="4"/>
                    <a:pt x="0" y="3"/>
                  </a:cubicBezTo>
                  <a:moveTo>
                    <a:pt x="0" y="2"/>
                  </a:moveTo>
                  <a:cubicBezTo>
                    <a:pt x="0" y="3"/>
                    <a:pt x="0" y="3"/>
                    <a:pt x="0" y="3"/>
                  </a:cubicBezTo>
                  <a:cubicBezTo>
                    <a:pt x="0" y="3"/>
                    <a:pt x="0" y="3"/>
                    <a:pt x="0" y="2"/>
                  </a:cubicBezTo>
                  <a:moveTo>
                    <a:pt x="0" y="1"/>
                  </a:moveTo>
                  <a:cubicBezTo>
                    <a:pt x="0" y="2"/>
                    <a:pt x="0" y="2"/>
                    <a:pt x="0" y="2"/>
                  </a:cubicBezTo>
                  <a:cubicBezTo>
                    <a:pt x="0" y="2"/>
                    <a:pt x="0" y="1"/>
                    <a:pt x="0" y="1"/>
                  </a:cubicBezTo>
                  <a:moveTo>
                    <a:pt x="1" y="0"/>
                  </a:moveTo>
                  <a:cubicBezTo>
                    <a:pt x="1" y="0"/>
                    <a:pt x="1" y="0"/>
                    <a:pt x="1" y="1"/>
                  </a:cubicBezTo>
                  <a:cubicBezTo>
                    <a:pt x="1" y="0"/>
                    <a:pt x="1" y="0"/>
                    <a:pt x="1" y="0"/>
                  </a:cubicBezTo>
                </a:path>
              </a:pathLst>
            </a:custGeom>
            <a:solidFill>
              <a:srgbClr val="00A6CA">
                <a:alpha val="82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nvGrpSpPr>
            <p:cNvPr id="263" name="Group 262"/>
            <p:cNvGrpSpPr>
              <a:grpSpLocks noChangeAspect="1"/>
            </p:cNvGrpSpPr>
            <p:nvPr/>
          </p:nvGrpSpPr>
          <p:grpSpPr>
            <a:xfrm>
              <a:off x="5205675" y="3498669"/>
              <a:ext cx="324800" cy="182476"/>
              <a:chOff x="5910308" y="5933652"/>
              <a:chExt cx="891339" cy="500764"/>
            </a:xfrm>
          </p:grpSpPr>
          <p:sp>
            <p:nvSpPr>
              <p:cNvPr id="267" name="Freeform 185">
                <a:extLst>
                  <a:ext uri="{FF2B5EF4-FFF2-40B4-BE49-F238E27FC236}">
                    <a16:creationId xmlns:a16="http://schemas.microsoft.com/office/drawing/2014/main" id="{A469C5B7-B1E3-414E-AB46-0EEBC05EFA9D}"/>
                  </a:ext>
                </a:extLst>
              </p:cNvPr>
              <p:cNvSpPr>
                <a:spLocks noChangeAspect="1" noChangeArrowheads="1"/>
              </p:cNvSpPr>
              <p:nvPr/>
            </p:nvSpPr>
            <p:spPr bwMode="auto">
              <a:xfrm>
                <a:off x="6009069" y="6022155"/>
                <a:ext cx="346909" cy="346909"/>
              </a:xfrm>
              <a:custGeom>
                <a:avLst/>
                <a:gdLst>
                  <a:gd name="T0" fmla="*/ 1001 w 1205"/>
                  <a:gd name="T1" fmla="*/ 975 h 1204"/>
                  <a:gd name="T2" fmla="*/ 843 w 1205"/>
                  <a:gd name="T3" fmla="*/ 858 h 1204"/>
                  <a:gd name="T4" fmla="*/ 752 w 1205"/>
                  <a:gd name="T5" fmla="*/ 783 h 1204"/>
                  <a:gd name="T6" fmla="*/ 761 w 1205"/>
                  <a:gd name="T7" fmla="*/ 719 h 1204"/>
                  <a:gd name="T8" fmla="*/ 787 w 1205"/>
                  <a:gd name="T9" fmla="*/ 670 h 1204"/>
                  <a:gd name="T10" fmla="*/ 848 w 1205"/>
                  <a:gd name="T11" fmla="*/ 410 h 1204"/>
                  <a:gd name="T12" fmla="*/ 686 w 1205"/>
                  <a:gd name="T13" fmla="*/ 165 h 1204"/>
                  <a:gd name="T14" fmla="*/ 638 w 1205"/>
                  <a:gd name="T15" fmla="*/ 175 h 1204"/>
                  <a:gd name="T16" fmla="*/ 574 w 1205"/>
                  <a:gd name="T17" fmla="*/ 186 h 1204"/>
                  <a:gd name="T18" fmla="*/ 383 w 1205"/>
                  <a:gd name="T19" fmla="*/ 403 h 1204"/>
                  <a:gd name="T20" fmla="*/ 453 w 1205"/>
                  <a:gd name="T21" fmla="*/ 676 h 1204"/>
                  <a:gd name="T22" fmla="*/ 474 w 1205"/>
                  <a:gd name="T23" fmla="*/ 717 h 1204"/>
                  <a:gd name="T24" fmla="*/ 414 w 1205"/>
                  <a:gd name="T25" fmla="*/ 848 h 1204"/>
                  <a:gd name="T26" fmla="*/ 206 w 1205"/>
                  <a:gd name="T27" fmla="*/ 978 h 1204"/>
                  <a:gd name="T28" fmla="*/ 56 w 1205"/>
                  <a:gd name="T29" fmla="*/ 601 h 1204"/>
                  <a:gd name="T30" fmla="*/ 602 w 1205"/>
                  <a:gd name="T31" fmla="*/ 55 h 1204"/>
                  <a:gd name="T32" fmla="*/ 1149 w 1205"/>
                  <a:gd name="T33" fmla="*/ 601 h 1204"/>
                  <a:gd name="T34" fmla="*/ 602 w 1205"/>
                  <a:gd name="T35" fmla="*/ 1148 h 1204"/>
                  <a:gd name="T36" fmla="*/ 246 w 1205"/>
                  <a:gd name="T37" fmla="*/ 1016 h 1204"/>
                  <a:gd name="T38" fmla="*/ 436 w 1205"/>
                  <a:gd name="T39" fmla="*/ 898 h 1204"/>
                  <a:gd name="T40" fmla="*/ 525 w 1205"/>
                  <a:gd name="T41" fmla="*/ 695 h 1204"/>
                  <a:gd name="T42" fmla="*/ 501 w 1205"/>
                  <a:gd name="T43" fmla="*/ 650 h 1204"/>
                  <a:gd name="T44" fmla="*/ 438 w 1205"/>
                  <a:gd name="T45" fmla="*/ 403 h 1204"/>
                  <a:gd name="T46" fmla="*/ 575 w 1205"/>
                  <a:gd name="T47" fmla="*/ 240 h 1204"/>
                  <a:gd name="T48" fmla="*/ 656 w 1205"/>
                  <a:gd name="T49" fmla="*/ 226 h 1204"/>
                  <a:gd name="T50" fmla="*/ 686 w 1205"/>
                  <a:gd name="T51" fmla="*/ 219 h 1204"/>
                  <a:gd name="T52" fmla="*/ 793 w 1205"/>
                  <a:gd name="T53" fmla="*/ 410 h 1204"/>
                  <a:gd name="T54" fmla="*/ 739 w 1205"/>
                  <a:gd name="T55" fmla="*/ 643 h 1204"/>
                  <a:gd name="T56" fmla="*/ 712 w 1205"/>
                  <a:gd name="T57" fmla="*/ 694 h 1204"/>
                  <a:gd name="T58" fmla="*/ 701 w 1205"/>
                  <a:gd name="T59" fmla="*/ 800 h 1204"/>
                  <a:gd name="T60" fmla="*/ 819 w 1205"/>
                  <a:gd name="T61" fmla="*/ 908 h 1204"/>
                  <a:gd name="T62" fmla="*/ 962 w 1205"/>
                  <a:gd name="T63" fmla="*/ 1013 h 1204"/>
                  <a:gd name="T64" fmla="*/ 602 w 1205"/>
                  <a:gd name="T65" fmla="*/ 1148 h 1204"/>
                  <a:gd name="T66" fmla="*/ 602 w 1205"/>
                  <a:gd name="T67" fmla="*/ 0 h 1204"/>
                  <a:gd name="T68" fmla="*/ 0 w 1205"/>
                  <a:gd name="T69" fmla="*/ 601 h 1204"/>
                  <a:gd name="T70" fmla="*/ 602 w 1205"/>
                  <a:gd name="T71" fmla="*/ 1203 h 1204"/>
                  <a:gd name="T72" fmla="*/ 1204 w 1205"/>
                  <a:gd name="T73" fmla="*/ 601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5" h="1204">
                    <a:moveTo>
                      <a:pt x="1001" y="975"/>
                    </a:moveTo>
                    <a:lnTo>
                      <a:pt x="1001" y="975"/>
                    </a:lnTo>
                    <a:cubicBezTo>
                      <a:pt x="969" y="944"/>
                      <a:pt x="906" y="888"/>
                      <a:pt x="843" y="858"/>
                    </a:cubicBezTo>
                    <a:lnTo>
                      <a:pt x="843" y="858"/>
                    </a:lnTo>
                    <a:cubicBezTo>
                      <a:pt x="791" y="834"/>
                      <a:pt x="761" y="809"/>
                      <a:pt x="752" y="783"/>
                    </a:cubicBezTo>
                    <a:lnTo>
                      <a:pt x="752" y="783"/>
                    </a:lnTo>
                    <a:cubicBezTo>
                      <a:pt x="746" y="764"/>
                      <a:pt x="748" y="743"/>
                      <a:pt x="761" y="719"/>
                    </a:cubicBezTo>
                    <a:lnTo>
                      <a:pt x="761" y="719"/>
                    </a:lnTo>
                    <a:cubicBezTo>
                      <a:pt x="770" y="700"/>
                      <a:pt x="779" y="684"/>
                      <a:pt x="787" y="670"/>
                    </a:cubicBezTo>
                    <a:lnTo>
                      <a:pt x="787" y="670"/>
                    </a:lnTo>
                    <a:cubicBezTo>
                      <a:pt x="821" y="609"/>
                      <a:pt x="848" y="565"/>
                      <a:pt x="848" y="410"/>
                    </a:cubicBezTo>
                    <a:lnTo>
                      <a:pt x="848" y="410"/>
                    </a:lnTo>
                    <a:cubicBezTo>
                      <a:pt x="848" y="176"/>
                      <a:pt x="713" y="165"/>
                      <a:pt x="686" y="165"/>
                    </a:cubicBezTo>
                    <a:lnTo>
                      <a:pt x="686" y="165"/>
                    </a:lnTo>
                    <a:cubicBezTo>
                      <a:pt x="665" y="165"/>
                      <a:pt x="650" y="170"/>
                      <a:pt x="638" y="175"/>
                    </a:cubicBezTo>
                    <a:lnTo>
                      <a:pt x="638" y="175"/>
                    </a:lnTo>
                    <a:cubicBezTo>
                      <a:pt x="623" y="180"/>
                      <a:pt x="608" y="185"/>
                      <a:pt x="574" y="186"/>
                    </a:cubicBezTo>
                    <a:lnTo>
                      <a:pt x="574" y="186"/>
                    </a:lnTo>
                    <a:cubicBezTo>
                      <a:pt x="512" y="186"/>
                      <a:pt x="383" y="189"/>
                      <a:pt x="383" y="403"/>
                    </a:cubicBezTo>
                    <a:lnTo>
                      <a:pt x="383" y="403"/>
                    </a:lnTo>
                    <a:cubicBezTo>
                      <a:pt x="383" y="553"/>
                      <a:pt x="422" y="621"/>
                      <a:pt x="453" y="676"/>
                    </a:cubicBezTo>
                    <a:lnTo>
                      <a:pt x="453" y="676"/>
                    </a:lnTo>
                    <a:cubicBezTo>
                      <a:pt x="461" y="690"/>
                      <a:pt x="468" y="704"/>
                      <a:pt x="474" y="717"/>
                    </a:cubicBezTo>
                    <a:lnTo>
                      <a:pt x="474" y="717"/>
                    </a:lnTo>
                    <a:cubicBezTo>
                      <a:pt x="501" y="777"/>
                      <a:pt x="481" y="818"/>
                      <a:pt x="414" y="848"/>
                    </a:cubicBezTo>
                    <a:lnTo>
                      <a:pt x="414" y="848"/>
                    </a:lnTo>
                    <a:cubicBezTo>
                      <a:pt x="329" y="885"/>
                      <a:pt x="290" y="904"/>
                      <a:pt x="206" y="978"/>
                    </a:cubicBezTo>
                    <a:lnTo>
                      <a:pt x="206" y="978"/>
                    </a:lnTo>
                    <a:cubicBezTo>
                      <a:pt x="113" y="879"/>
                      <a:pt x="56" y="747"/>
                      <a:pt x="56" y="601"/>
                    </a:cubicBezTo>
                    <a:lnTo>
                      <a:pt x="56" y="601"/>
                    </a:lnTo>
                    <a:cubicBezTo>
                      <a:pt x="56" y="300"/>
                      <a:pt x="300" y="55"/>
                      <a:pt x="602" y="55"/>
                    </a:cubicBezTo>
                    <a:lnTo>
                      <a:pt x="602" y="55"/>
                    </a:lnTo>
                    <a:cubicBezTo>
                      <a:pt x="904" y="55"/>
                      <a:pt x="1149" y="300"/>
                      <a:pt x="1149" y="601"/>
                    </a:cubicBezTo>
                    <a:lnTo>
                      <a:pt x="1149" y="601"/>
                    </a:lnTo>
                    <a:cubicBezTo>
                      <a:pt x="1149" y="746"/>
                      <a:pt x="1093" y="877"/>
                      <a:pt x="1001" y="975"/>
                    </a:cubicBezTo>
                    <a:close/>
                    <a:moveTo>
                      <a:pt x="602" y="1148"/>
                    </a:moveTo>
                    <a:lnTo>
                      <a:pt x="602" y="1148"/>
                    </a:lnTo>
                    <a:cubicBezTo>
                      <a:pt x="466" y="1148"/>
                      <a:pt x="342" y="1098"/>
                      <a:pt x="246" y="1016"/>
                    </a:cubicBezTo>
                    <a:lnTo>
                      <a:pt x="246" y="1016"/>
                    </a:lnTo>
                    <a:cubicBezTo>
                      <a:pt x="320" y="951"/>
                      <a:pt x="355" y="933"/>
                      <a:pt x="436" y="898"/>
                    </a:cubicBezTo>
                    <a:lnTo>
                      <a:pt x="436" y="898"/>
                    </a:lnTo>
                    <a:cubicBezTo>
                      <a:pt x="531" y="856"/>
                      <a:pt x="562" y="782"/>
                      <a:pt x="525" y="695"/>
                    </a:cubicBezTo>
                    <a:lnTo>
                      <a:pt x="525" y="695"/>
                    </a:lnTo>
                    <a:cubicBezTo>
                      <a:pt x="518" y="679"/>
                      <a:pt x="509" y="665"/>
                      <a:pt x="501" y="650"/>
                    </a:cubicBezTo>
                    <a:lnTo>
                      <a:pt x="501" y="650"/>
                    </a:lnTo>
                    <a:cubicBezTo>
                      <a:pt x="472" y="598"/>
                      <a:pt x="438" y="539"/>
                      <a:pt x="438" y="403"/>
                    </a:cubicBezTo>
                    <a:lnTo>
                      <a:pt x="438" y="403"/>
                    </a:lnTo>
                    <a:cubicBezTo>
                      <a:pt x="438" y="243"/>
                      <a:pt x="514" y="241"/>
                      <a:pt x="575" y="240"/>
                    </a:cubicBezTo>
                    <a:lnTo>
                      <a:pt x="575" y="240"/>
                    </a:lnTo>
                    <a:cubicBezTo>
                      <a:pt x="618" y="239"/>
                      <a:pt x="639" y="232"/>
                      <a:pt x="656" y="226"/>
                    </a:cubicBezTo>
                    <a:lnTo>
                      <a:pt x="656" y="226"/>
                    </a:lnTo>
                    <a:cubicBezTo>
                      <a:pt x="667" y="222"/>
                      <a:pt x="674" y="219"/>
                      <a:pt x="686" y="219"/>
                    </a:cubicBezTo>
                    <a:lnTo>
                      <a:pt x="686" y="219"/>
                    </a:lnTo>
                    <a:cubicBezTo>
                      <a:pt x="737" y="219"/>
                      <a:pt x="793" y="270"/>
                      <a:pt x="793" y="410"/>
                    </a:cubicBezTo>
                    <a:lnTo>
                      <a:pt x="793" y="410"/>
                    </a:lnTo>
                    <a:cubicBezTo>
                      <a:pt x="793" y="552"/>
                      <a:pt x="772" y="586"/>
                      <a:pt x="739" y="643"/>
                    </a:cubicBezTo>
                    <a:lnTo>
                      <a:pt x="739" y="643"/>
                    </a:lnTo>
                    <a:cubicBezTo>
                      <a:pt x="731" y="658"/>
                      <a:pt x="721" y="674"/>
                      <a:pt x="712" y="694"/>
                    </a:cubicBezTo>
                    <a:lnTo>
                      <a:pt x="712" y="694"/>
                    </a:lnTo>
                    <a:cubicBezTo>
                      <a:pt x="693" y="732"/>
                      <a:pt x="689" y="768"/>
                      <a:pt x="701" y="800"/>
                    </a:cubicBezTo>
                    <a:lnTo>
                      <a:pt x="701" y="800"/>
                    </a:lnTo>
                    <a:cubicBezTo>
                      <a:pt x="715" y="842"/>
                      <a:pt x="752" y="876"/>
                      <a:pt x="819" y="908"/>
                    </a:cubicBezTo>
                    <a:lnTo>
                      <a:pt x="819" y="908"/>
                    </a:lnTo>
                    <a:cubicBezTo>
                      <a:pt x="874" y="933"/>
                      <a:pt x="930" y="983"/>
                      <a:pt x="962" y="1013"/>
                    </a:cubicBezTo>
                    <a:lnTo>
                      <a:pt x="962" y="1013"/>
                    </a:lnTo>
                    <a:cubicBezTo>
                      <a:pt x="865" y="1097"/>
                      <a:pt x="740" y="1148"/>
                      <a:pt x="602" y="1148"/>
                    </a:cubicBezTo>
                    <a:close/>
                    <a:moveTo>
                      <a:pt x="602" y="0"/>
                    </a:moveTo>
                    <a:lnTo>
                      <a:pt x="602" y="0"/>
                    </a:lnTo>
                    <a:cubicBezTo>
                      <a:pt x="270" y="0"/>
                      <a:pt x="0" y="270"/>
                      <a:pt x="0" y="601"/>
                    </a:cubicBezTo>
                    <a:lnTo>
                      <a:pt x="0" y="601"/>
                    </a:lnTo>
                    <a:cubicBezTo>
                      <a:pt x="0" y="933"/>
                      <a:pt x="270" y="1203"/>
                      <a:pt x="602" y="1203"/>
                    </a:cubicBezTo>
                    <a:lnTo>
                      <a:pt x="602" y="1203"/>
                    </a:lnTo>
                    <a:cubicBezTo>
                      <a:pt x="934" y="1203"/>
                      <a:pt x="1204" y="933"/>
                      <a:pt x="1204" y="601"/>
                    </a:cubicBezTo>
                    <a:lnTo>
                      <a:pt x="1204" y="601"/>
                    </a:lnTo>
                    <a:cubicBezTo>
                      <a:pt x="1204" y="270"/>
                      <a:pt x="934" y="0"/>
                      <a:pt x="602" y="0"/>
                    </a:cubicBezTo>
                    <a:close/>
                  </a:path>
                </a:pathLst>
              </a:custGeom>
              <a:solidFill>
                <a:srgbClr val="00A6CA"/>
              </a:solidFill>
              <a:ln>
                <a:no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530" b="0" i="0" u="none" strike="noStrike" kern="0" cap="none" spc="0" normalizeH="0" baseline="0" noProof="0">
                  <a:ln>
                    <a:noFill/>
                  </a:ln>
                  <a:solidFill>
                    <a:srgbClr val="000000"/>
                  </a:solidFill>
                  <a:effectLst/>
                  <a:uLnTx/>
                  <a:uFillTx/>
                  <a:latin typeface="Arial"/>
                </a:endParaRPr>
              </a:p>
            </p:txBody>
          </p:sp>
          <p:sp>
            <p:nvSpPr>
              <p:cNvPr id="268" name="Line 76">
                <a:extLst>
                  <a:ext uri="{FF2B5EF4-FFF2-40B4-BE49-F238E27FC236}">
                    <a16:creationId xmlns:a16="http://schemas.microsoft.com/office/drawing/2014/main" id="{E708EF42-DBC8-F74A-A235-450F7F64CFCD}"/>
                  </a:ext>
                </a:extLst>
              </p:cNvPr>
              <p:cNvSpPr>
                <a:spLocks noChangeShapeType="1"/>
              </p:cNvSpPr>
              <p:nvPr/>
            </p:nvSpPr>
            <p:spPr bwMode="auto">
              <a:xfrm flipH="1">
                <a:off x="6391023" y="6077224"/>
                <a:ext cx="274320" cy="0"/>
              </a:xfrm>
              <a:prstGeom prst="line">
                <a:avLst/>
              </a:prstGeom>
              <a:noFill/>
              <a:ln w="10440" cap="flat">
                <a:solidFill>
                  <a:srgbClr val="00A6C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6532" b="0" i="0" u="none" strike="noStrike" kern="0" cap="none" spc="0" normalizeH="0" baseline="0" noProof="0" dirty="0">
                  <a:ln>
                    <a:noFill/>
                  </a:ln>
                  <a:solidFill>
                    <a:srgbClr val="737572"/>
                  </a:solidFill>
                  <a:effectLst/>
                  <a:uLnTx/>
                  <a:uFillTx/>
                  <a:latin typeface="Lato Light" panose="020F0502020204030203" pitchFamily="34" charset="0"/>
                </a:endParaRPr>
              </a:p>
            </p:txBody>
          </p:sp>
          <p:sp>
            <p:nvSpPr>
              <p:cNvPr id="269" name="Line 76">
                <a:extLst>
                  <a:ext uri="{FF2B5EF4-FFF2-40B4-BE49-F238E27FC236}">
                    <a16:creationId xmlns:a16="http://schemas.microsoft.com/office/drawing/2014/main" id="{E708EF42-DBC8-F74A-A235-450F7F64CFCD}"/>
                  </a:ext>
                </a:extLst>
              </p:cNvPr>
              <p:cNvSpPr>
                <a:spLocks noChangeShapeType="1"/>
              </p:cNvSpPr>
              <p:nvPr/>
            </p:nvSpPr>
            <p:spPr bwMode="auto">
              <a:xfrm flipH="1">
                <a:off x="6466305" y="6206474"/>
                <a:ext cx="182880" cy="0"/>
              </a:xfrm>
              <a:prstGeom prst="line">
                <a:avLst/>
              </a:prstGeom>
              <a:noFill/>
              <a:ln w="10440" cap="flat">
                <a:solidFill>
                  <a:srgbClr val="00A6C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6532" b="0" i="0" u="none" strike="noStrike" kern="0" cap="none" spc="0" normalizeH="0" baseline="0" noProof="0" dirty="0">
                  <a:ln>
                    <a:noFill/>
                  </a:ln>
                  <a:solidFill>
                    <a:srgbClr val="737572"/>
                  </a:solidFill>
                  <a:effectLst/>
                  <a:uLnTx/>
                  <a:uFillTx/>
                  <a:latin typeface="Lato Light" panose="020F0502020204030203" pitchFamily="34" charset="0"/>
                </a:endParaRPr>
              </a:p>
            </p:txBody>
          </p:sp>
          <p:sp>
            <p:nvSpPr>
              <p:cNvPr id="270" name="Line 76">
                <a:extLst>
                  <a:ext uri="{FF2B5EF4-FFF2-40B4-BE49-F238E27FC236}">
                    <a16:creationId xmlns:a16="http://schemas.microsoft.com/office/drawing/2014/main" id="{E708EF42-DBC8-F74A-A235-450F7F64CFCD}"/>
                  </a:ext>
                </a:extLst>
              </p:cNvPr>
              <p:cNvSpPr>
                <a:spLocks noChangeShapeType="1"/>
              </p:cNvSpPr>
              <p:nvPr/>
            </p:nvSpPr>
            <p:spPr bwMode="auto">
              <a:xfrm flipH="1">
                <a:off x="6391023" y="6322764"/>
                <a:ext cx="274320" cy="0"/>
              </a:xfrm>
              <a:prstGeom prst="line">
                <a:avLst/>
              </a:prstGeom>
              <a:noFill/>
              <a:ln w="10440" cap="flat">
                <a:solidFill>
                  <a:srgbClr val="00A6C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6532" b="0" i="0" u="none" strike="noStrike" kern="0" cap="none" spc="0" normalizeH="0" baseline="0" noProof="0" dirty="0">
                  <a:ln>
                    <a:noFill/>
                  </a:ln>
                  <a:solidFill>
                    <a:srgbClr val="737572"/>
                  </a:solidFill>
                  <a:effectLst/>
                  <a:uLnTx/>
                  <a:uFillTx/>
                  <a:latin typeface="Lato Light" panose="020F0502020204030203" pitchFamily="34" charset="0"/>
                </a:endParaRPr>
              </a:p>
            </p:txBody>
          </p:sp>
          <p:sp>
            <p:nvSpPr>
              <p:cNvPr id="271" name="Rounded Rectangle 270"/>
              <p:cNvSpPr/>
              <p:nvPr/>
            </p:nvSpPr>
            <p:spPr>
              <a:xfrm>
                <a:off x="5910308" y="5933652"/>
                <a:ext cx="891339" cy="500764"/>
              </a:xfrm>
              <a:prstGeom prst="roundRect">
                <a:avLst/>
              </a:prstGeom>
              <a:noFill/>
              <a:ln w="10414" cap="flat" cmpd="sng" algn="ctr">
                <a:solidFill>
                  <a:srgbClr val="00A6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grpSp>
        <p:sp>
          <p:nvSpPr>
            <p:cNvPr id="264" name="Freeform 1011">
              <a:extLst>
                <a:ext uri="{FF2B5EF4-FFF2-40B4-BE49-F238E27FC236}">
                  <a16:creationId xmlns:a16="http://schemas.microsoft.com/office/drawing/2014/main" id="{932547E0-7731-484C-A839-C5F0A997B83B}"/>
                </a:ext>
              </a:extLst>
            </p:cNvPr>
            <p:cNvSpPr>
              <a:spLocks noChangeAspect="1" noChangeArrowheads="1"/>
            </p:cNvSpPr>
            <p:nvPr/>
          </p:nvSpPr>
          <p:spPr bwMode="auto">
            <a:xfrm>
              <a:off x="4905935" y="4839514"/>
              <a:ext cx="331327" cy="318115"/>
            </a:xfrm>
            <a:custGeom>
              <a:avLst/>
              <a:gdLst>
                <a:gd name="T0" fmla="*/ 4189006 w 285390"/>
                <a:gd name="T1" fmla="*/ 4938274 h 274277"/>
                <a:gd name="T2" fmla="*/ 2945600 w 285390"/>
                <a:gd name="T3" fmla="*/ 4757981 h 274277"/>
                <a:gd name="T4" fmla="*/ 2945600 w 285390"/>
                <a:gd name="T5" fmla="*/ 4938274 h 274277"/>
                <a:gd name="T6" fmla="*/ 2444283 w 285390"/>
                <a:gd name="T7" fmla="*/ 4757981 h 274277"/>
                <a:gd name="T8" fmla="*/ 1979031 w 285390"/>
                <a:gd name="T9" fmla="*/ 4848124 h 274277"/>
                <a:gd name="T10" fmla="*/ 1689066 w 285390"/>
                <a:gd name="T11" fmla="*/ 4848124 h 274277"/>
                <a:gd name="T12" fmla="*/ 1217897 w 285390"/>
                <a:gd name="T13" fmla="*/ 4757981 h 274277"/>
                <a:gd name="T14" fmla="*/ 4871666 w 285390"/>
                <a:gd name="T15" fmla="*/ 4938769 h 274277"/>
                <a:gd name="T16" fmla="*/ 4787055 w 285390"/>
                <a:gd name="T17" fmla="*/ 4770128 h 274277"/>
                <a:gd name="T18" fmla="*/ 609042 w 285390"/>
                <a:gd name="T19" fmla="*/ 4685786 h 274277"/>
                <a:gd name="T20" fmla="*/ 693606 w 285390"/>
                <a:gd name="T21" fmla="*/ 4938769 h 274277"/>
                <a:gd name="T22" fmla="*/ 524414 w 285390"/>
                <a:gd name="T23" fmla="*/ 4601446 h 274277"/>
                <a:gd name="T24" fmla="*/ 530264 w 285390"/>
                <a:gd name="T25" fmla="*/ 4281418 h 274277"/>
                <a:gd name="T26" fmla="*/ 4429282 w 285390"/>
                <a:gd name="T27" fmla="*/ 3395867 h 274277"/>
                <a:gd name="T28" fmla="*/ 4429282 w 285390"/>
                <a:gd name="T29" fmla="*/ 3395867 h 274277"/>
                <a:gd name="T30" fmla="*/ 4052330 w 285390"/>
                <a:gd name="T31" fmla="*/ 3596196 h 274277"/>
                <a:gd name="T32" fmla="*/ 4422430 w 285390"/>
                <a:gd name="T33" fmla="*/ 4208771 h 274277"/>
                <a:gd name="T34" fmla="*/ 530264 w 285390"/>
                <a:gd name="T35" fmla="*/ 2911129 h 274277"/>
                <a:gd name="T36" fmla="*/ 439777 w 285390"/>
                <a:gd name="T37" fmla="*/ 3358136 h 274277"/>
                <a:gd name="T38" fmla="*/ 4871666 w 285390"/>
                <a:gd name="T39" fmla="*/ 2253778 h 274277"/>
                <a:gd name="T40" fmla="*/ 4787055 w 285390"/>
                <a:gd name="T41" fmla="*/ 2506743 h 274277"/>
                <a:gd name="T42" fmla="*/ 4702423 w 285390"/>
                <a:gd name="T43" fmla="*/ 2253778 h 274277"/>
                <a:gd name="T44" fmla="*/ 4189006 w 285390"/>
                <a:gd name="T45" fmla="*/ 2434071 h 274277"/>
                <a:gd name="T46" fmla="*/ 2945600 w 285390"/>
                <a:gd name="T47" fmla="*/ 2253778 h 274277"/>
                <a:gd name="T48" fmla="*/ 2945600 w 285390"/>
                <a:gd name="T49" fmla="*/ 2434071 h 274277"/>
                <a:gd name="T50" fmla="*/ 2444283 w 285390"/>
                <a:gd name="T51" fmla="*/ 2253778 h 274277"/>
                <a:gd name="T52" fmla="*/ 1979031 w 285390"/>
                <a:gd name="T53" fmla="*/ 2343926 h 274277"/>
                <a:gd name="T54" fmla="*/ 1689066 w 285390"/>
                <a:gd name="T55" fmla="*/ 2343926 h 274277"/>
                <a:gd name="T56" fmla="*/ 1217897 w 285390"/>
                <a:gd name="T57" fmla="*/ 2253778 h 274277"/>
                <a:gd name="T58" fmla="*/ 693606 w 285390"/>
                <a:gd name="T59" fmla="*/ 2422415 h 274277"/>
                <a:gd name="T60" fmla="*/ 439777 w 285390"/>
                <a:gd name="T61" fmla="*/ 2506743 h 274277"/>
                <a:gd name="T62" fmla="*/ 170922 w 285390"/>
                <a:gd name="T63" fmla="*/ 2129212 h 274277"/>
                <a:gd name="T64" fmla="*/ 5248520 w 285390"/>
                <a:gd name="T65" fmla="*/ 5088859 h 274277"/>
                <a:gd name="T66" fmla="*/ 4422430 w 285390"/>
                <a:gd name="T67" fmla="*/ 2846056 h 274277"/>
                <a:gd name="T68" fmla="*/ 313335 w 285390"/>
                <a:gd name="T69" fmla="*/ 1987257 h 274277"/>
                <a:gd name="T70" fmla="*/ 1751867 w 285390"/>
                <a:gd name="T71" fmla="*/ 1596930 h 274277"/>
                <a:gd name="T72" fmla="*/ 3643966 w 285390"/>
                <a:gd name="T73" fmla="*/ 1522554 h 274277"/>
                <a:gd name="T74" fmla="*/ 3726896 w 285390"/>
                <a:gd name="T75" fmla="*/ 1213557 h 274277"/>
                <a:gd name="T76" fmla="*/ 4429542 w 285390"/>
                <a:gd name="T77" fmla="*/ 958159 h 274277"/>
                <a:gd name="T78" fmla="*/ 4735772 w 285390"/>
                <a:gd name="T79" fmla="*/ 943962 h 274277"/>
                <a:gd name="T80" fmla="*/ 3824901 w 285390"/>
                <a:gd name="T81" fmla="*/ 747780 h 274277"/>
                <a:gd name="T82" fmla="*/ 3643966 w 285390"/>
                <a:gd name="T83" fmla="*/ 747780 h 274277"/>
                <a:gd name="T84" fmla="*/ 4258622 w 285390"/>
                <a:gd name="T85" fmla="*/ 1816933 h 274277"/>
                <a:gd name="T86" fmla="*/ 2663410 w 285390"/>
                <a:gd name="T87" fmla="*/ 170273 h 274277"/>
                <a:gd name="T88" fmla="*/ 2663410 w 285390"/>
                <a:gd name="T89" fmla="*/ 170273 h 274277"/>
                <a:gd name="T90" fmla="*/ 2492489 w 285390"/>
                <a:gd name="T91" fmla="*/ 1816933 h 274277"/>
                <a:gd name="T92" fmla="*/ 4116198 w 285390"/>
                <a:gd name="T93" fmla="*/ 0 h 274277"/>
                <a:gd name="T94" fmla="*/ 4842590 w 285390"/>
                <a:gd name="T95" fmla="*/ 809099 h 274277"/>
                <a:gd name="T96" fmla="*/ 5419418 w 285390"/>
                <a:gd name="T97" fmla="*/ 2129212 h 274277"/>
                <a:gd name="T98" fmla="*/ 5647299 w 285390"/>
                <a:gd name="T99" fmla="*/ 4293932 h 274277"/>
                <a:gd name="T100" fmla="*/ 5106085 w 285390"/>
                <a:gd name="T101" fmla="*/ 5408191 h 274277"/>
                <a:gd name="T102" fmla="*/ 0 w 285390"/>
                <a:gd name="T103" fmla="*/ 2115024 h 274277"/>
                <a:gd name="T104" fmla="*/ 2065217 w 285390"/>
                <a:gd name="T105" fmla="*/ 0 h 2742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85390" h="274277">
                  <a:moveTo>
                    <a:pt x="193118" y="241300"/>
                  </a:moveTo>
                  <a:lnTo>
                    <a:pt x="211694" y="241300"/>
                  </a:lnTo>
                  <a:cubicBezTo>
                    <a:pt x="213797" y="241300"/>
                    <a:pt x="215550" y="243586"/>
                    <a:pt x="215550" y="245872"/>
                  </a:cubicBezTo>
                  <a:cubicBezTo>
                    <a:pt x="215550" y="248539"/>
                    <a:pt x="213797" y="250444"/>
                    <a:pt x="211694" y="250444"/>
                  </a:cubicBezTo>
                  <a:lnTo>
                    <a:pt x="193118" y="250444"/>
                  </a:lnTo>
                  <a:cubicBezTo>
                    <a:pt x="190665" y="250444"/>
                    <a:pt x="188912" y="248539"/>
                    <a:pt x="188912" y="245872"/>
                  </a:cubicBezTo>
                  <a:cubicBezTo>
                    <a:pt x="188912" y="243586"/>
                    <a:pt x="190665" y="241300"/>
                    <a:pt x="193118" y="241300"/>
                  </a:cubicBezTo>
                  <a:close/>
                  <a:moveTo>
                    <a:pt x="148858" y="241300"/>
                  </a:moveTo>
                  <a:lnTo>
                    <a:pt x="168274" y="241300"/>
                  </a:lnTo>
                  <a:cubicBezTo>
                    <a:pt x="170472" y="241300"/>
                    <a:pt x="172670" y="243586"/>
                    <a:pt x="172670" y="245872"/>
                  </a:cubicBezTo>
                  <a:cubicBezTo>
                    <a:pt x="172670" y="248539"/>
                    <a:pt x="170472" y="250444"/>
                    <a:pt x="168274" y="250444"/>
                  </a:cubicBezTo>
                  <a:lnTo>
                    <a:pt x="148858" y="250444"/>
                  </a:lnTo>
                  <a:cubicBezTo>
                    <a:pt x="146660" y="250444"/>
                    <a:pt x="144462" y="248539"/>
                    <a:pt x="144462" y="245872"/>
                  </a:cubicBezTo>
                  <a:cubicBezTo>
                    <a:pt x="144462" y="243586"/>
                    <a:pt x="146660" y="241300"/>
                    <a:pt x="148858" y="241300"/>
                  </a:cubicBezTo>
                  <a:close/>
                  <a:moveTo>
                    <a:pt x="104714" y="241300"/>
                  </a:moveTo>
                  <a:lnTo>
                    <a:pt x="123523" y="241300"/>
                  </a:lnTo>
                  <a:cubicBezTo>
                    <a:pt x="126055" y="241300"/>
                    <a:pt x="128225" y="243586"/>
                    <a:pt x="128225" y="245872"/>
                  </a:cubicBezTo>
                  <a:cubicBezTo>
                    <a:pt x="128225" y="248539"/>
                    <a:pt x="126055" y="250444"/>
                    <a:pt x="123523" y="250444"/>
                  </a:cubicBezTo>
                  <a:lnTo>
                    <a:pt x="104714" y="250444"/>
                  </a:lnTo>
                  <a:cubicBezTo>
                    <a:pt x="102182" y="250444"/>
                    <a:pt x="100012" y="248539"/>
                    <a:pt x="100012" y="245872"/>
                  </a:cubicBezTo>
                  <a:cubicBezTo>
                    <a:pt x="100012" y="243586"/>
                    <a:pt x="102182" y="241300"/>
                    <a:pt x="104714" y="241300"/>
                  </a:cubicBezTo>
                  <a:close/>
                  <a:moveTo>
                    <a:pt x="61546" y="241300"/>
                  </a:moveTo>
                  <a:lnTo>
                    <a:pt x="80596" y="241300"/>
                  </a:lnTo>
                  <a:cubicBezTo>
                    <a:pt x="83160" y="241300"/>
                    <a:pt x="85358" y="243586"/>
                    <a:pt x="85358" y="245872"/>
                  </a:cubicBezTo>
                  <a:cubicBezTo>
                    <a:pt x="85358" y="248539"/>
                    <a:pt x="83160" y="250444"/>
                    <a:pt x="80596" y="250444"/>
                  </a:cubicBezTo>
                  <a:lnTo>
                    <a:pt x="61546" y="250444"/>
                  </a:lnTo>
                  <a:cubicBezTo>
                    <a:pt x="58981" y="250444"/>
                    <a:pt x="57150" y="248539"/>
                    <a:pt x="57150" y="245872"/>
                  </a:cubicBezTo>
                  <a:cubicBezTo>
                    <a:pt x="57150" y="243586"/>
                    <a:pt x="58981" y="241300"/>
                    <a:pt x="61546" y="241300"/>
                  </a:cubicBezTo>
                  <a:close/>
                  <a:moveTo>
                    <a:pt x="246192" y="233362"/>
                  </a:moveTo>
                  <a:cubicBezTo>
                    <a:pt x="248331" y="233362"/>
                    <a:pt x="250469" y="235144"/>
                    <a:pt x="250469" y="237639"/>
                  </a:cubicBezTo>
                  <a:lnTo>
                    <a:pt x="250469" y="246192"/>
                  </a:lnTo>
                  <a:cubicBezTo>
                    <a:pt x="250469" y="248687"/>
                    <a:pt x="248331" y="250469"/>
                    <a:pt x="246192" y="250469"/>
                  </a:cubicBezTo>
                  <a:lnTo>
                    <a:pt x="237639" y="250469"/>
                  </a:lnTo>
                  <a:cubicBezTo>
                    <a:pt x="235144" y="250469"/>
                    <a:pt x="233362" y="248687"/>
                    <a:pt x="233362" y="246192"/>
                  </a:cubicBezTo>
                  <a:cubicBezTo>
                    <a:pt x="233362" y="244054"/>
                    <a:pt x="235144" y="241916"/>
                    <a:pt x="237639" y="241916"/>
                  </a:cubicBezTo>
                  <a:lnTo>
                    <a:pt x="241916" y="241916"/>
                  </a:lnTo>
                  <a:lnTo>
                    <a:pt x="241916" y="237639"/>
                  </a:lnTo>
                  <a:cubicBezTo>
                    <a:pt x="241916" y="235144"/>
                    <a:pt x="243697" y="233362"/>
                    <a:pt x="246192" y="233362"/>
                  </a:cubicBezTo>
                  <a:close/>
                  <a:moveTo>
                    <a:pt x="26501" y="233362"/>
                  </a:moveTo>
                  <a:cubicBezTo>
                    <a:pt x="28996" y="233362"/>
                    <a:pt x="30778" y="235144"/>
                    <a:pt x="30778" y="237639"/>
                  </a:cubicBezTo>
                  <a:lnTo>
                    <a:pt x="30778" y="241916"/>
                  </a:lnTo>
                  <a:lnTo>
                    <a:pt x="35054" y="241916"/>
                  </a:lnTo>
                  <a:cubicBezTo>
                    <a:pt x="37549" y="241916"/>
                    <a:pt x="39330" y="244054"/>
                    <a:pt x="39330" y="246192"/>
                  </a:cubicBezTo>
                  <a:cubicBezTo>
                    <a:pt x="39330" y="248687"/>
                    <a:pt x="37549" y="250469"/>
                    <a:pt x="35054" y="250469"/>
                  </a:cubicBezTo>
                  <a:lnTo>
                    <a:pt x="26501" y="250469"/>
                  </a:lnTo>
                  <a:cubicBezTo>
                    <a:pt x="24007" y="250469"/>
                    <a:pt x="22225" y="248687"/>
                    <a:pt x="22225" y="246192"/>
                  </a:cubicBezTo>
                  <a:lnTo>
                    <a:pt x="22225" y="237639"/>
                  </a:lnTo>
                  <a:cubicBezTo>
                    <a:pt x="22225" y="235144"/>
                    <a:pt x="24007" y="233362"/>
                    <a:pt x="26501" y="233362"/>
                  </a:cubicBezTo>
                  <a:close/>
                  <a:moveTo>
                    <a:pt x="26797" y="190500"/>
                  </a:moveTo>
                  <a:cubicBezTo>
                    <a:pt x="29464" y="190500"/>
                    <a:pt x="31369" y="192276"/>
                    <a:pt x="31369" y="194761"/>
                  </a:cubicBezTo>
                  <a:lnTo>
                    <a:pt x="31369" y="212516"/>
                  </a:lnTo>
                  <a:cubicBezTo>
                    <a:pt x="31369" y="215002"/>
                    <a:pt x="29464" y="217132"/>
                    <a:pt x="26797" y="217132"/>
                  </a:cubicBezTo>
                  <a:cubicBezTo>
                    <a:pt x="24130" y="217132"/>
                    <a:pt x="22225" y="215002"/>
                    <a:pt x="22225" y="212516"/>
                  </a:cubicBezTo>
                  <a:lnTo>
                    <a:pt x="22225" y="194761"/>
                  </a:lnTo>
                  <a:cubicBezTo>
                    <a:pt x="22225" y="192276"/>
                    <a:pt x="24130" y="190500"/>
                    <a:pt x="26797" y="190500"/>
                  </a:cubicBezTo>
                  <a:close/>
                  <a:moveTo>
                    <a:pt x="223837" y="172221"/>
                  </a:moveTo>
                  <a:cubicBezTo>
                    <a:pt x="218086" y="172221"/>
                    <a:pt x="213414" y="176938"/>
                    <a:pt x="213414" y="182381"/>
                  </a:cubicBezTo>
                  <a:cubicBezTo>
                    <a:pt x="213414" y="187824"/>
                    <a:pt x="218086" y="192541"/>
                    <a:pt x="223837" y="192541"/>
                  </a:cubicBezTo>
                  <a:cubicBezTo>
                    <a:pt x="229229" y="192541"/>
                    <a:pt x="233901" y="187824"/>
                    <a:pt x="233901" y="182381"/>
                  </a:cubicBezTo>
                  <a:cubicBezTo>
                    <a:pt x="233901" y="176938"/>
                    <a:pt x="229229" y="172221"/>
                    <a:pt x="223837" y="172221"/>
                  </a:cubicBezTo>
                  <a:close/>
                  <a:moveTo>
                    <a:pt x="223837" y="163512"/>
                  </a:moveTo>
                  <a:cubicBezTo>
                    <a:pt x="233901" y="163512"/>
                    <a:pt x="242528" y="171858"/>
                    <a:pt x="242528" y="182381"/>
                  </a:cubicBezTo>
                  <a:cubicBezTo>
                    <a:pt x="242528" y="192904"/>
                    <a:pt x="233901" y="201249"/>
                    <a:pt x="223837" y="201249"/>
                  </a:cubicBezTo>
                  <a:cubicBezTo>
                    <a:pt x="213414" y="201249"/>
                    <a:pt x="204787" y="192904"/>
                    <a:pt x="204787" y="182381"/>
                  </a:cubicBezTo>
                  <a:cubicBezTo>
                    <a:pt x="204787" y="171858"/>
                    <a:pt x="213414" y="163512"/>
                    <a:pt x="223837" y="163512"/>
                  </a:cubicBezTo>
                  <a:close/>
                  <a:moveTo>
                    <a:pt x="223490" y="152976"/>
                  </a:moveTo>
                  <a:cubicBezTo>
                    <a:pt x="206575" y="152976"/>
                    <a:pt x="193259" y="166294"/>
                    <a:pt x="193259" y="183212"/>
                  </a:cubicBezTo>
                  <a:cubicBezTo>
                    <a:pt x="193259" y="199769"/>
                    <a:pt x="206575" y="213447"/>
                    <a:pt x="223490" y="213447"/>
                  </a:cubicBezTo>
                  <a:lnTo>
                    <a:pt x="276393" y="213447"/>
                  </a:lnTo>
                  <a:lnTo>
                    <a:pt x="276393" y="152976"/>
                  </a:lnTo>
                  <a:lnTo>
                    <a:pt x="223490" y="152976"/>
                  </a:lnTo>
                  <a:close/>
                  <a:moveTo>
                    <a:pt x="26797" y="147637"/>
                  </a:moveTo>
                  <a:cubicBezTo>
                    <a:pt x="29464" y="147637"/>
                    <a:pt x="31369" y="149436"/>
                    <a:pt x="31369" y="151595"/>
                  </a:cubicBezTo>
                  <a:lnTo>
                    <a:pt x="31369" y="170307"/>
                  </a:lnTo>
                  <a:cubicBezTo>
                    <a:pt x="31369" y="172466"/>
                    <a:pt x="29464" y="174265"/>
                    <a:pt x="26797" y="174265"/>
                  </a:cubicBezTo>
                  <a:cubicBezTo>
                    <a:pt x="24130" y="174265"/>
                    <a:pt x="22225" y="172466"/>
                    <a:pt x="22225" y="170307"/>
                  </a:cubicBezTo>
                  <a:lnTo>
                    <a:pt x="22225" y="151595"/>
                  </a:lnTo>
                  <a:cubicBezTo>
                    <a:pt x="22225" y="149436"/>
                    <a:pt x="24130" y="147637"/>
                    <a:pt x="26797" y="147637"/>
                  </a:cubicBezTo>
                  <a:close/>
                  <a:moveTo>
                    <a:pt x="237639" y="114300"/>
                  </a:moveTo>
                  <a:lnTo>
                    <a:pt x="246192" y="114300"/>
                  </a:lnTo>
                  <a:cubicBezTo>
                    <a:pt x="248331" y="114300"/>
                    <a:pt x="250469" y="116082"/>
                    <a:pt x="250469" y="118577"/>
                  </a:cubicBezTo>
                  <a:lnTo>
                    <a:pt x="250469" y="127129"/>
                  </a:lnTo>
                  <a:cubicBezTo>
                    <a:pt x="250469" y="129268"/>
                    <a:pt x="248331" y="131406"/>
                    <a:pt x="246192" y="131406"/>
                  </a:cubicBezTo>
                  <a:cubicBezTo>
                    <a:pt x="243697" y="131406"/>
                    <a:pt x="241916" y="129268"/>
                    <a:pt x="241916" y="127129"/>
                  </a:cubicBezTo>
                  <a:lnTo>
                    <a:pt x="241916" y="122853"/>
                  </a:lnTo>
                  <a:lnTo>
                    <a:pt x="237639" y="122853"/>
                  </a:lnTo>
                  <a:cubicBezTo>
                    <a:pt x="235144" y="122853"/>
                    <a:pt x="233362" y="120715"/>
                    <a:pt x="233362" y="118577"/>
                  </a:cubicBezTo>
                  <a:cubicBezTo>
                    <a:pt x="233362" y="116082"/>
                    <a:pt x="235144" y="114300"/>
                    <a:pt x="237639" y="114300"/>
                  </a:cubicBezTo>
                  <a:close/>
                  <a:moveTo>
                    <a:pt x="193118" y="114300"/>
                  </a:moveTo>
                  <a:lnTo>
                    <a:pt x="211694" y="114300"/>
                  </a:lnTo>
                  <a:cubicBezTo>
                    <a:pt x="213797" y="114300"/>
                    <a:pt x="215550" y="116205"/>
                    <a:pt x="215550" y="118872"/>
                  </a:cubicBezTo>
                  <a:cubicBezTo>
                    <a:pt x="215550" y="121158"/>
                    <a:pt x="213797" y="123444"/>
                    <a:pt x="211694" y="123444"/>
                  </a:cubicBezTo>
                  <a:lnTo>
                    <a:pt x="193118" y="123444"/>
                  </a:lnTo>
                  <a:cubicBezTo>
                    <a:pt x="190665" y="123444"/>
                    <a:pt x="188912" y="121158"/>
                    <a:pt x="188912" y="118872"/>
                  </a:cubicBezTo>
                  <a:cubicBezTo>
                    <a:pt x="188912" y="116205"/>
                    <a:pt x="190665" y="114300"/>
                    <a:pt x="193118" y="114300"/>
                  </a:cubicBezTo>
                  <a:close/>
                  <a:moveTo>
                    <a:pt x="148858" y="114300"/>
                  </a:moveTo>
                  <a:lnTo>
                    <a:pt x="168274" y="114300"/>
                  </a:lnTo>
                  <a:cubicBezTo>
                    <a:pt x="170472" y="114300"/>
                    <a:pt x="172670" y="116205"/>
                    <a:pt x="172670" y="118872"/>
                  </a:cubicBezTo>
                  <a:cubicBezTo>
                    <a:pt x="172670" y="121158"/>
                    <a:pt x="170472" y="123444"/>
                    <a:pt x="168274" y="123444"/>
                  </a:cubicBezTo>
                  <a:lnTo>
                    <a:pt x="148858" y="123444"/>
                  </a:lnTo>
                  <a:cubicBezTo>
                    <a:pt x="146660" y="123444"/>
                    <a:pt x="144462" y="121158"/>
                    <a:pt x="144462" y="118872"/>
                  </a:cubicBezTo>
                  <a:cubicBezTo>
                    <a:pt x="144462" y="116205"/>
                    <a:pt x="146660" y="114300"/>
                    <a:pt x="148858" y="114300"/>
                  </a:cubicBezTo>
                  <a:close/>
                  <a:moveTo>
                    <a:pt x="104714" y="114300"/>
                  </a:moveTo>
                  <a:lnTo>
                    <a:pt x="123523" y="114300"/>
                  </a:lnTo>
                  <a:cubicBezTo>
                    <a:pt x="126055" y="114300"/>
                    <a:pt x="128225" y="116205"/>
                    <a:pt x="128225" y="118872"/>
                  </a:cubicBezTo>
                  <a:cubicBezTo>
                    <a:pt x="128225" y="121158"/>
                    <a:pt x="126055" y="123444"/>
                    <a:pt x="123523" y="123444"/>
                  </a:cubicBezTo>
                  <a:lnTo>
                    <a:pt x="104714" y="123444"/>
                  </a:lnTo>
                  <a:cubicBezTo>
                    <a:pt x="102182" y="123444"/>
                    <a:pt x="100012" y="121158"/>
                    <a:pt x="100012" y="118872"/>
                  </a:cubicBezTo>
                  <a:cubicBezTo>
                    <a:pt x="100012" y="116205"/>
                    <a:pt x="102182" y="114300"/>
                    <a:pt x="104714" y="114300"/>
                  </a:cubicBezTo>
                  <a:close/>
                  <a:moveTo>
                    <a:pt x="61546" y="114300"/>
                  </a:moveTo>
                  <a:lnTo>
                    <a:pt x="80596" y="114300"/>
                  </a:lnTo>
                  <a:cubicBezTo>
                    <a:pt x="83160" y="114300"/>
                    <a:pt x="85358" y="116205"/>
                    <a:pt x="85358" y="118872"/>
                  </a:cubicBezTo>
                  <a:cubicBezTo>
                    <a:pt x="85358" y="121158"/>
                    <a:pt x="83160" y="123444"/>
                    <a:pt x="80596" y="123444"/>
                  </a:cubicBezTo>
                  <a:lnTo>
                    <a:pt x="61546" y="123444"/>
                  </a:lnTo>
                  <a:cubicBezTo>
                    <a:pt x="58981" y="123444"/>
                    <a:pt x="57150" y="121158"/>
                    <a:pt x="57150" y="118872"/>
                  </a:cubicBezTo>
                  <a:cubicBezTo>
                    <a:pt x="57150" y="116205"/>
                    <a:pt x="58981" y="114300"/>
                    <a:pt x="61546" y="114300"/>
                  </a:cubicBezTo>
                  <a:close/>
                  <a:moveTo>
                    <a:pt x="26501" y="114300"/>
                  </a:moveTo>
                  <a:lnTo>
                    <a:pt x="35054" y="114300"/>
                  </a:lnTo>
                  <a:cubicBezTo>
                    <a:pt x="37549" y="114300"/>
                    <a:pt x="39330" y="116082"/>
                    <a:pt x="39330" y="118577"/>
                  </a:cubicBezTo>
                  <a:cubicBezTo>
                    <a:pt x="39330" y="120715"/>
                    <a:pt x="37549" y="122853"/>
                    <a:pt x="35054" y="122853"/>
                  </a:cubicBezTo>
                  <a:lnTo>
                    <a:pt x="30778" y="122853"/>
                  </a:lnTo>
                  <a:lnTo>
                    <a:pt x="30778" y="127129"/>
                  </a:lnTo>
                  <a:cubicBezTo>
                    <a:pt x="30778" y="129268"/>
                    <a:pt x="28996" y="131406"/>
                    <a:pt x="26501" y="131406"/>
                  </a:cubicBezTo>
                  <a:cubicBezTo>
                    <a:pt x="24007" y="131406"/>
                    <a:pt x="22225" y="129268"/>
                    <a:pt x="22225" y="127129"/>
                  </a:cubicBezTo>
                  <a:lnTo>
                    <a:pt x="22225" y="118577"/>
                  </a:lnTo>
                  <a:cubicBezTo>
                    <a:pt x="22225" y="116082"/>
                    <a:pt x="24007" y="114300"/>
                    <a:pt x="26501" y="114300"/>
                  </a:cubicBezTo>
                  <a:close/>
                  <a:moveTo>
                    <a:pt x="15835" y="100784"/>
                  </a:moveTo>
                  <a:cubicBezTo>
                    <a:pt x="11876" y="100784"/>
                    <a:pt x="8637" y="104384"/>
                    <a:pt x="8637" y="107983"/>
                  </a:cubicBezTo>
                  <a:lnTo>
                    <a:pt x="8637" y="258080"/>
                  </a:lnTo>
                  <a:cubicBezTo>
                    <a:pt x="8637" y="262399"/>
                    <a:pt x="11876" y="265279"/>
                    <a:pt x="15835" y="265279"/>
                  </a:cubicBezTo>
                  <a:lnTo>
                    <a:pt x="258039" y="265279"/>
                  </a:lnTo>
                  <a:cubicBezTo>
                    <a:pt x="261638" y="265279"/>
                    <a:pt x="265237" y="262399"/>
                    <a:pt x="265237" y="258080"/>
                  </a:cubicBezTo>
                  <a:lnTo>
                    <a:pt x="265237" y="222085"/>
                  </a:lnTo>
                  <a:lnTo>
                    <a:pt x="223490" y="222085"/>
                  </a:lnTo>
                  <a:cubicBezTo>
                    <a:pt x="201897" y="222085"/>
                    <a:pt x="184622" y="204808"/>
                    <a:pt x="184622" y="183212"/>
                  </a:cubicBezTo>
                  <a:cubicBezTo>
                    <a:pt x="184622" y="161975"/>
                    <a:pt x="201897" y="144338"/>
                    <a:pt x="223490" y="144338"/>
                  </a:cubicBezTo>
                  <a:lnTo>
                    <a:pt x="265237" y="144338"/>
                  </a:lnTo>
                  <a:lnTo>
                    <a:pt x="265237" y="107983"/>
                  </a:lnTo>
                  <a:cubicBezTo>
                    <a:pt x="265237" y="104384"/>
                    <a:pt x="261638" y="100784"/>
                    <a:pt x="258039" y="100784"/>
                  </a:cubicBezTo>
                  <a:lnTo>
                    <a:pt x="15835" y="100784"/>
                  </a:lnTo>
                  <a:close/>
                  <a:moveTo>
                    <a:pt x="88532" y="80988"/>
                  </a:moveTo>
                  <a:lnTo>
                    <a:pt x="41027" y="92146"/>
                  </a:lnTo>
                  <a:lnTo>
                    <a:pt x="88532" y="92146"/>
                  </a:lnTo>
                  <a:lnTo>
                    <a:pt x="88532" y="80988"/>
                  </a:lnTo>
                  <a:close/>
                  <a:moveTo>
                    <a:pt x="188341" y="73025"/>
                  </a:moveTo>
                  <a:cubicBezTo>
                    <a:pt x="191008" y="73025"/>
                    <a:pt x="193294" y="74930"/>
                    <a:pt x="193294" y="77216"/>
                  </a:cubicBezTo>
                  <a:cubicBezTo>
                    <a:pt x="193294" y="79883"/>
                    <a:pt x="191008" y="82169"/>
                    <a:pt x="188341" y="82169"/>
                  </a:cubicBezTo>
                  <a:cubicBezTo>
                    <a:pt x="186055" y="82169"/>
                    <a:pt x="184150" y="79883"/>
                    <a:pt x="184150" y="77216"/>
                  </a:cubicBezTo>
                  <a:cubicBezTo>
                    <a:pt x="184150" y="74930"/>
                    <a:pt x="186055" y="73025"/>
                    <a:pt x="188341" y="73025"/>
                  </a:cubicBezTo>
                  <a:close/>
                  <a:moveTo>
                    <a:pt x="188341" y="52387"/>
                  </a:moveTo>
                  <a:cubicBezTo>
                    <a:pt x="191008" y="52387"/>
                    <a:pt x="193294" y="54585"/>
                    <a:pt x="193294" y="57150"/>
                  </a:cubicBezTo>
                  <a:cubicBezTo>
                    <a:pt x="193294" y="59348"/>
                    <a:pt x="191008" y="61546"/>
                    <a:pt x="188341" y="61546"/>
                  </a:cubicBezTo>
                  <a:cubicBezTo>
                    <a:pt x="186055" y="61546"/>
                    <a:pt x="184150" y="59348"/>
                    <a:pt x="184150" y="57150"/>
                  </a:cubicBezTo>
                  <a:cubicBezTo>
                    <a:pt x="184150" y="54585"/>
                    <a:pt x="186055" y="52387"/>
                    <a:pt x="188341" y="52387"/>
                  </a:cubicBezTo>
                  <a:close/>
                  <a:moveTo>
                    <a:pt x="233207" y="46433"/>
                  </a:moveTo>
                  <a:lnTo>
                    <a:pt x="223850" y="48593"/>
                  </a:lnTo>
                  <a:lnTo>
                    <a:pt x="223850" y="92146"/>
                  </a:lnTo>
                  <a:lnTo>
                    <a:pt x="242204" y="92146"/>
                  </a:lnTo>
                  <a:lnTo>
                    <a:pt x="242204" y="53632"/>
                  </a:lnTo>
                  <a:cubicBezTo>
                    <a:pt x="242204" y="51472"/>
                    <a:pt x="241124" y="49313"/>
                    <a:pt x="239325" y="47873"/>
                  </a:cubicBezTo>
                  <a:cubicBezTo>
                    <a:pt x="237525" y="46433"/>
                    <a:pt x="235366" y="46073"/>
                    <a:pt x="233207" y="46433"/>
                  </a:cubicBezTo>
                  <a:close/>
                  <a:moveTo>
                    <a:pt x="185293" y="35101"/>
                  </a:moveTo>
                  <a:cubicBezTo>
                    <a:pt x="186817" y="33337"/>
                    <a:pt x="189865" y="33337"/>
                    <a:pt x="191770" y="35101"/>
                  </a:cubicBezTo>
                  <a:cubicBezTo>
                    <a:pt x="192532" y="35807"/>
                    <a:pt x="193294" y="36865"/>
                    <a:pt x="193294" y="37923"/>
                  </a:cubicBezTo>
                  <a:cubicBezTo>
                    <a:pt x="193294" y="39334"/>
                    <a:pt x="192532" y="40393"/>
                    <a:pt x="191770" y="41098"/>
                  </a:cubicBezTo>
                  <a:cubicBezTo>
                    <a:pt x="191008" y="41804"/>
                    <a:pt x="189865" y="42509"/>
                    <a:pt x="188341" y="42509"/>
                  </a:cubicBezTo>
                  <a:cubicBezTo>
                    <a:pt x="187198" y="42509"/>
                    <a:pt x="186055" y="41804"/>
                    <a:pt x="185293" y="41098"/>
                  </a:cubicBezTo>
                  <a:cubicBezTo>
                    <a:pt x="184531" y="40393"/>
                    <a:pt x="184150" y="39334"/>
                    <a:pt x="184150" y="37923"/>
                  </a:cubicBezTo>
                  <a:cubicBezTo>
                    <a:pt x="184150" y="36865"/>
                    <a:pt x="184531" y="35807"/>
                    <a:pt x="185293" y="35101"/>
                  </a:cubicBezTo>
                  <a:close/>
                  <a:moveTo>
                    <a:pt x="163388" y="8638"/>
                  </a:moveTo>
                  <a:lnTo>
                    <a:pt x="163388" y="92146"/>
                  </a:lnTo>
                  <a:lnTo>
                    <a:pt x="215212" y="92146"/>
                  </a:lnTo>
                  <a:lnTo>
                    <a:pt x="215212" y="15837"/>
                  </a:lnTo>
                  <a:cubicBezTo>
                    <a:pt x="215212" y="11878"/>
                    <a:pt x="212333" y="8638"/>
                    <a:pt x="208015" y="8638"/>
                  </a:cubicBezTo>
                  <a:lnTo>
                    <a:pt x="163388" y="8638"/>
                  </a:lnTo>
                  <a:close/>
                  <a:moveTo>
                    <a:pt x="134597" y="8638"/>
                  </a:moveTo>
                  <a:lnTo>
                    <a:pt x="134597" y="92146"/>
                  </a:lnTo>
                  <a:lnTo>
                    <a:pt x="154751" y="92146"/>
                  </a:lnTo>
                  <a:lnTo>
                    <a:pt x="154751" y="8638"/>
                  </a:lnTo>
                  <a:lnTo>
                    <a:pt x="134597" y="8638"/>
                  </a:lnTo>
                  <a:close/>
                  <a:moveTo>
                    <a:pt x="104367" y="8638"/>
                  </a:moveTo>
                  <a:cubicBezTo>
                    <a:pt x="100408" y="8638"/>
                    <a:pt x="97169" y="11878"/>
                    <a:pt x="97169" y="15837"/>
                  </a:cubicBezTo>
                  <a:lnTo>
                    <a:pt x="97169" y="92146"/>
                  </a:lnTo>
                  <a:lnTo>
                    <a:pt x="125960" y="92146"/>
                  </a:lnTo>
                  <a:lnTo>
                    <a:pt x="125960" y="8638"/>
                  </a:lnTo>
                  <a:lnTo>
                    <a:pt x="104367" y="8638"/>
                  </a:lnTo>
                  <a:close/>
                  <a:moveTo>
                    <a:pt x="104367" y="0"/>
                  </a:moveTo>
                  <a:lnTo>
                    <a:pt x="208015" y="0"/>
                  </a:lnTo>
                  <a:cubicBezTo>
                    <a:pt x="216652" y="0"/>
                    <a:pt x="223850" y="7199"/>
                    <a:pt x="223850" y="15837"/>
                  </a:cubicBezTo>
                  <a:lnTo>
                    <a:pt x="223850" y="39954"/>
                  </a:lnTo>
                  <a:lnTo>
                    <a:pt x="231047" y="38154"/>
                  </a:lnTo>
                  <a:cubicBezTo>
                    <a:pt x="236086" y="37074"/>
                    <a:pt x="240764" y="38154"/>
                    <a:pt x="244723" y="41034"/>
                  </a:cubicBezTo>
                  <a:cubicBezTo>
                    <a:pt x="248682" y="44273"/>
                    <a:pt x="250841" y="48593"/>
                    <a:pt x="250841" y="53632"/>
                  </a:cubicBezTo>
                  <a:lnTo>
                    <a:pt x="250841" y="92146"/>
                  </a:lnTo>
                  <a:lnTo>
                    <a:pt x="258039" y="92146"/>
                  </a:lnTo>
                  <a:cubicBezTo>
                    <a:pt x="266676" y="92146"/>
                    <a:pt x="273874" y="99345"/>
                    <a:pt x="273874" y="107983"/>
                  </a:cubicBezTo>
                  <a:lnTo>
                    <a:pt x="273874" y="144338"/>
                  </a:lnTo>
                  <a:lnTo>
                    <a:pt x="281072" y="144338"/>
                  </a:lnTo>
                  <a:cubicBezTo>
                    <a:pt x="283231" y="144338"/>
                    <a:pt x="285390" y="146137"/>
                    <a:pt x="285390" y="148657"/>
                  </a:cubicBezTo>
                  <a:lnTo>
                    <a:pt x="285390" y="217766"/>
                  </a:lnTo>
                  <a:cubicBezTo>
                    <a:pt x="285390" y="220286"/>
                    <a:pt x="283231" y="222085"/>
                    <a:pt x="281072" y="222085"/>
                  </a:cubicBezTo>
                  <a:lnTo>
                    <a:pt x="273874" y="222085"/>
                  </a:lnTo>
                  <a:lnTo>
                    <a:pt x="273874" y="258080"/>
                  </a:lnTo>
                  <a:cubicBezTo>
                    <a:pt x="273874" y="267078"/>
                    <a:pt x="266676" y="274277"/>
                    <a:pt x="258039" y="274277"/>
                  </a:cubicBezTo>
                  <a:lnTo>
                    <a:pt x="15835" y="274277"/>
                  </a:lnTo>
                  <a:cubicBezTo>
                    <a:pt x="6838" y="274277"/>
                    <a:pt x="0" y="267078"/>
                    <a:pt x="0" y="258080"/>
                  </a:cubicBezTo>
                  <a:lnTo>
                    <a:pt x="0" y="125981"/>
                  </a:lnTo>
                  <a:lnTo>
                    <a:pt x="0" y="107263"/>
                  </a:lnTo>
                  <a:cubicBezTo>
                    <a:pt x="0" y="98985"/>
                    <a:pt x="6118" y="91786"/>
                    <a:pt x="14395" y="89626"/>
                  </a:cubicBezTo>
                  <a:lnTo>
                    <a:pt x="88532" y="72349"/>
                  </a:lnTo>
                  <a:lnTo>
                    <a:pt x="88532" y="15837"/>
                  </a:lnTo>
                  <a:cubicBezTo>
                    <a:pt x="88532" y="7199"/>
                    <a:pt x="95730" y="0"/>
                    <a:pt x="104367" y="0"/>
                  </a:cubicBezTo>
                  <a:close/>
                </a:path>
              </a:pathLst>
            </a:custGeom>
            <a:solidFill>
              <a:srgbClr val="00A6CA"/>
            </a:solidFill>
            <a:ln>
              <a:noFill/>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265" name="Freeform 946">
              <a:extLst>
                <a:ext uri="{FF2B5EF4-FFF2-40B4-BE49-F238E27FC236}">
                  <a16:creationId xmlns:a16="http://schemas.microsoft.com/office/drawing/2014/main" id="{A3AC6015-5AB4-0D42-A0F5-F3BB441C7DC7}"/>
                </a:ext>
              </a:extLst>
            </p:cNvPr>
            <p:cNvSpPr>
              <a:spLocks noChangeAspect="1"/>
            </p:cNvSpPr>
            <p:nvPr/>
          </p:nvSpPr>
          <p:spPr bwMode="auto">
            <a:xfrm>
              <a:off x="7013370" y="4103208"/>
              <a:ext cx="337386" cy="337386"/>
            </a:xfrm>
            <a:custGeom>
              <a:avLst/>
              <a:gdLst>
                <a:gd name="T0" fmla="*/ 4969062 w 293328"/>
                <a:gd name="T1" fmla="*/ 7282885 h 293329"/>
                <a:gd name="T2" fmla="*/ 5659663 w 293328"/>
                <a:gd name="T3" fmla="*/ 7282885 h 293329"/>
                <a:gd name="T4" fmla="*/ 2740911 w 293328"/>
                <a:gd name="T5" fmla="*/ 6944731 h 293329"/>
                <a:gd name="T6" fmla="*/ 2740911 w 293328"/>
                <a:gd name="T7" fmla="*/ 7633985 h 293329"/>
                <a:gd name="T8" fmla="*/ 2740911 w 293328"/>
                <a:gd name="T9" fmla="*/ 6944731 h 293329"/>
                <a:gd name="T10" fmla="*/ 7966750 w 293328"/>
                <a:gd name="T11" fmla="*/ 10056064 h 293329"/>
                <a:gd name="T12" fmla="*/ 8658978 w 293328"/>
                <a:gd name="T13" fmla="*/ 8580288 h 293329"/>
                <a:gd name="T14" fmla="*/ 6882751 w 293328"/>
                <a:gd name="T15" fmla="*/ 6882469 h 293329"/>
                <a:gd name="T16" fmla="*/ 3392400 w 293328"/>
                <a:gd name="T17" fmla="*/ 7126814 h 293329"/>
                <a:gd name="T18" fmla="*/ 5320836 w 293328"/>
                <a:gd name="T19" fmla="*/ 6632627 h 293329"/>
                <a:gd name="T20" fmla="*/ 5320836 w 293328"/>
                <a:gd name="T21" fmla="*/ 7946105 h 293329"/>
                <a:gd name="T22" fmla="*/ 3392400 w 293328"/>
                <a:gd name="T23" fmla="*/ 7451954 h 293329"/>
                <a:gd name="T24" fmla="*/ 2076337 w 293328"/>
                <a:gd name="T25" fmla="*/ 7282885 h 293329"/>
                <a:gd name="T26" fmla="*/ 5331523 w 293328"/>
                <a:gd name="T27" fmla="*/ 4284453 h 293329"/>
                <a:gd name="T28" fmla="*/ 5699345 w 293328"/>
                <a:gd name="T29" fmla="*/ 5900416 h 293329"/>
                <a:gd name="T30" fmla="*/ 6513962 w 293328"/>
                <a:gd name="T31" fmla="*/ 4428957 h 293329"/>
                <a:gd name="T32" fmla="*/ 3741779 w 293328"/>
                <a:gd name="T33" fmla="*/ 4087408 h 293329"/>
                <a:gd name="T34" fmla="*/ 4687717 w 293328"/>
                <a:gd name="T35" fmla="*/ 5900416 h 293329"/>
                <a:gd name="T36" fmla="*/ 3741779 w 293328"/>
                <a:gd name="T37" fmla="*/ 4087408 h 293329"/>
                <a:gd name="T38" fmla="*/ 2191466 w 293328"/>
                <a:gd name="T39" fmla="*/ 5545670 h 293329"/>
                <a:gd name="T40" fmla="*/ 3229408 w 293328"/>
                <a:gd name="T41" fmla="*/ 5900416 h 293329"/>
                <a:gd name="T42" fmla="*/ 2191466 w 293328"/>
                <a:gd name="T43" fmla="*/ 3890238 h 293329"/>
                <a:gd name="T44" fmla="*/ 2178323 w 293328"/>
                <a:gd name="T45" fmla="*/ 3561792 h 293329"/>
                <a:gd name="T46" fmla="*/ 6881809 w 293328"/>
                <a:gd name="T47" fmla="*/ 4205615 h 293329"/>
                <a:gd name="T48" fmla="*/ 6330021 w 293328"/>
                <a:gd name="T49" fmla="*/ 5795290 h 293329"/>
                <a:gd name="T50" fmla="*/ 2533066 w 293328"/>
                <a:gd name="T51" fmla="*/ 6215738 h 293329"/>
                <a:gd name="T52" fmla="*/ 1876147 w 293328"/>
                <a:gd name="T53" fmla="*/ 3706342 h 293329"/>
                <a:gd name="T54" fmla="*/ 1153534 w 293328"/>
                <a:gd name="T55" fmla="*/ 2996857 h 293329"/>
                <a:gd name="T56" fmla="*/ 4665432 w 293328"/>
                <a:gd name="T57" fmla="*/ 1384261 h 293329"/>
                <a:gd name="T58" fmla="*/ 7633915 w 293328"/>
                <a:gd name="T59" fmla="*/ 6066344 h 293329"/>
                <a:gd name="T60" fmla="*/ 7425638 w 293328"/>
                <a:gd name="T61" fmla="*/ 6144970 h 293329"/>
                <a:gd name="T62" fmla="*/ 7620913 w 293328"/>
                <a:gd name="T63" fmla="*/ 4676154 h 293329"/>
                <a:gd name="T64" fmla="*/ 2491166 w 293328"/>
                <a:gd name="T65" fmla="*/ 2669484 h 293329"/>
                <a:gd name="T66" fmla="*/ 2256867 w 293328"/>
                <a:gd name="T67" fmla="*/ 2446542 h 293329"/>
                <a:gd name="T68" fmla="*/ 4688611 w 293328"/>
                <a:gd name="T69" fmla="*/ 326507 h 293329"/>
                <a:gd name="T70" fmla="*/ 4688611 w 293328"/>
                <a:gd name="T71" fmla="*/ 9037376 h 293329"/>
                <a:gd name="T72" fmla="*/ 6464809 w 293328"/>
                <a:gd name="T73" fmla="*/ 6673534 h 293329"/>
                <a:gd name="T74" fmla="*/ 6673772 w 293328"/>
                <a:gd name="T75" fmla="*/ 6464583 h 293329"/>
                <a:gd name="T76" fmla="*/ 9050770 w 293328"/>
                <a:gd name="T77" fmla="*/ 4675475 h 293329"/>
                <a:gd name="T78" fmla="*/ 4688611 w 293328"/>
                <a:gd name="T79" fmla="*/ 0 h 293329"/>
                <a:gd name="T80" fmla="*/ 8658978 w 293328"/>
                <a:gd name="T81" fmla="*/ 7156755 h 293329"/>
                <a:gd name="T82" fmla="*/ 10657173 w 293328"/>
                <a:gd name="T83" fmla="*/ 7940368 h 293329"/>
                <a:gd name="T84" fmla="*/ 8854870 w 293328"/>
                <a:gd name="T85" fmla="*/ 8854585 h 293329"/>
                <a:gd name="T86" fmla="*/ 7940637 w 293328"/>
                <a:gd name="T87" fmla="*/ 10656789 h 293329"/>
                <a:gd name="T88" fmla="*/ 7143972 w 293328"/>
                <a:gd name="T89" fmla="*/ 8658652 h 293329"/>
                <a:gd name="T90" fmla="*/ 0 w 293328"/>
                <a:gd name="T91" fmla="*/ 4675475 h 293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93328" h="293329">
                  <a:moveTo>
                    <a:pt x="146451" y="191154"/>
                  </a:moveTo>
                  <a:cubicBezTo>
                    <a:pt x="141071" y="191154"/>
                    <a:pt x="136768" y="195450"/>
                    <a:pt x="136768" y="200461"/>
                  </a:cubicBezTo>
                  <a:cubicBezTo>
                    <a:pt x="136768" y="205831"/>
                    <a:pt x="141071" y="210126"/>
                    <a:pt x="146451" y="210126"/>
                  </a:cubicBezTo>
                  <a:cubicBezTo>
                    <a:pt x="151472" y="210126"/>
                    <a:pt x="155776" y="205831"/>
                    <a:pt x="155776" y="200461"/>
                  </a:cubicBezTo>
                  <a:cubicBezTo>
                    <a:pt x="155776" y="195450"/>
                    <a:pt x="151472" y="191154"/>
                    <a:pt x="146451" y="191154"/>
                  </a:cubicBezTo>
                  <a:close/>
                  <a:moveTo>
                    <a:pt x="75441" y="191154"/>
                  </a:moveTo>
                  <a:cubicBezTo>
                    <a:pt x="70420" y="191154"/>
                    <a:pt x="66116" y="195450"/>
                    <a:pt x="66116" y="200461"/>
                  </a:cubicBezTo>
                  <a:cubicBezTo>
                    <a:pt x="66116" y="205831"/>
                    <a:pt x="70420" y="210126"/>
                    <a:pt x="75441" y="210126"/>
                  </a:cubicBezTo>
                  <a:cubicBezTo>
                    <a:pt x="80462" y="210126"/>
                    <a:pt x="84765" y="205831"/>
                    <a:pt x="84765" y="200461"/>
                  </a:cubicBezTo>
                  <a:cubicBezTo>
                    <a:pt x="84765" y="195450"/>
                    <a:pt x="80462" y="191154"/>
                    <a:pt x="75441" y="191154"/>
                  </a:cubicBezTo>
                  <a:close/>
                  <a:moveTo>
                    <a:pt x="189441" y="189441"/>
                  </a:moveTo>
                  <a:lnTo>
                    <a:pt x="219277" y="276793"/>
                  </a:lnTo>
                  <a:lnTo>
                    <a:pt x="236172" y="238330"/>
                  </a:lnTo>
                  <a:cubicBezTo>
                    <a:pt x="236531" y="237611"/>
                    <a:pt x="237610" y="236892"/>
                    <a:pt x="238329" y="236173"/>
                  </a:cubicBezTo>
                  <a:lnTo>
                    <a:pt x="276792" y="219278"/>
                  </a:lnTo>
                  <a:lnTo>
                    <a:pt x="189441" y="189441"/>
                  </a:lnTo>
                  <a:close/>
                  <a:moveTo>
                    <a:pt x="75441" y="182563"/>
                  </a:moveTo>
                  <a:cubicBezTo>
                    <a:pt x="84048" y="182563"/>
                    <a:pt x="91221" y="188290"/>
                    <a:pt x="93373" y="196166"/>
                  </a:cubicBezTo>
                  <a:lnTo>
                    <a:pt x="128519" y="196166"/>
                  </a:lnTo>
                  <a:cubicBezTo>
                    <a:pt x="130671" y="188290"/>
                    <a:pt x="137844" y="182563"/>
                    <a:pt x="146451" y="182563"/>
                  </a:cubicBezTo>
                  <a:cubicBezTo>
                    <a:pt x="156493" y="182563"/>
                    <a:pt x="164741" y="190796"/>
                    <a:pt x="164741" y="200461"/>
                  </a:cubicBezTo>
                  <a:cubicBezTo>
                    <a:pt x="164741" y="210842"/>
                    <a:pt x="156493" y="218717"/>
                    <a:pt x="146451" y="218717"/>
                  </a:cubicBezTo>
                  <a:cubicBezTo>
                    <a:pt x="137844" y="218717"/>
                    <a:pt x="130671" y="212990"/>
                    <a:pt x="128519" y="205115"/>
                  </a:cubicBezTo>
                  <a:lnTo>
                    <a:pt x="93373" y="205115"/>
                  </a:lnTo>
                  <a:cubicBezTo>
                    <a:pt x="91221" y="212990"/>
                    <a:pt x="84048" y="218717"/>
                    <a:pt x="75441" y="218717"/>
                  </a:cubicBezTo>
                  <a:cubicBezTo>
                    <a:pt x="65399" y="218717"/>
                    <a:pt x="57150" y="210842"/>
                    <a:pt x="57150" y="200461"/>
                  </a:cubicBezTo>
                  <a:cubicBezTo>
                    <a:pt x="57150" y="190796"/>
                    <a:pt x="65399" y="182563"/>
                    <a:pt x="75441" y="182563"/>
                  </a:cubicBezTo>
                  <a:close/>
                  <a:moveTo>
                    <a:pt x="146744" y="117929"/>
                  </a:moveTo>
                  <a:lnTo>
                    <a:pt x="138427" y="162409"/>
                  </a:lnTo>
                  <a:lnTo>
                    <a:pt x="156870" y="162409"/>
                  </a:lnTo>
                  <a:cubicBezTo>
                    <a:pt x="160848" y="162409"/>
                    <a:pt x="164102" y="159878"/>
                    <a:pt x="165549" y="156262"/>
                  </a:cubicBezTo>
                  <a:lnTo>
                    <a:pt x="179290" y="121907"/>
                  </a:lnTo>
                  <a:lnTo>
                    <a:pt x="146744" y="117929"/>
                  </a:lnTo>
                  <a:close/>
                  <a:moveTo>
                    <a:pt x="102989" y="112505"/>
                  </a:moveTo>
                  <a:lnTo>
                    <a:pt x="97926" y="162409"/>
                  </a:lnTo>
                  <a:lnTo>
                    <a:pt x="129025" y="162409"/>
                  </a:lnTo>
                  <a:lnTo>
                    <a:pt x="137704" y="116482"/>
                  </a:lnTo>
                  <a:lnTo>
                    <a:pt x="102989" y="112505"/>
                  </a:lnTo>
                  <a:close/>
                  <a:moveTo>
                    <a:pt x="60318" y="107080"/>
                  </a:moveTo>
                  <a:lnTo>
                    <a:pt x="60318" y="152645"/>
                  </a:lnTo>
                  <a:cubicBezTo>
                    <a:pt x="60318" y="158070"/>
                    <a:pt x="64657" y="162409"/>
                    <a:pt x="69720" y="162409"/>
                  </a:cubicBezTo>
                  <a:lnTo>
                    <a:pt x="88886" y="162409"/>
                  </a:lnTo>
                  <a:lnTo>
                    <a:pt x="94310" y="111420"/>
                  </a:lnTo>
                  <a:lnTo>
                    <a:pt x="60318" y="107080"/>
                  </a:lnTo>
                  <a:close/>
                  <a:moveTo>
                    <a:pt x="36451" y="77788"/>
                  </a:moveTo>
                  <a:cubicBezTo>
                    <a:pt x="48385" y="77788"/>
                    <a:pt x="58148" y="86829"/>
                    <a:pt x="59956" y="98039"/>
                  </a:cubicBezTo>
                  <a:lnTo>
                    <a:pt x="186161" y="113589"/>
                  </a:lnTo>
                  <a:cubicBezTo>
                    <a:pt x="187246" y="113951"/>
                    <a:pt x="188692" y="114674"/>
                    <a:pt x="189415" y="115759"/>
                  </a:cubicBezTo>
                  <a:cubicBezTo>
                    <a:pt x="190139" y="116844"/>
                    <a:pt x="190139" y="118652"/>
                    <a:pt x="189777" y="119737"/>
                  </a:cubicBezTo>
                  <a:lnTo>
                    <a:pt x="174227" y="159516"/>
                  </a:lnTo>
                  <a:cubicBezTo>
                    <a:pt x="171334" y="166387"/>
                    <a:pt x="164464" y="171088"/>
                    <a:pt x="156870" y="171088"/>
                  </a:cubicBezTo>
                  <a:lnTo>
                    <a:pt x="69720" y="171088"/>
                  </a:lnTo>
                  <a:cubicBezTo>
                    <a:pt x="59595" y="171088"/>
                    <a:pt x="51639" y="162771"/>
                    <a:pt x="51639" y="152645"/>
                  </a:cubicBezTo>
                  <a:lnTo>
                    <a:pt x="51639" y="102017"/>
                  </a:lnTo>
                  <a:cubicBezTo>
                    <a:pt x="51639" y="93700"/>
                    <a:pt x="44768" y="86829"/>
                    <a:pt x="36451" y="86829"/>
                  </a:cubicBezTo>
                  <a:cubicBezTo>
                    <a:pt x="33920" y="86829"/>
                    <a:pt x="31750" y="84659"/>
                    <a:pt x="31750" y="82489"/>
                  </a:cubicBezTo>
                  <a:cubicBezTo>
                    <a:pt x="31750" y="79958"/>
                    <a:pt x="33920" y="77788"/>
                    <a:pt x="36451" y="77788"/>
                  </a:cubicBezTo>
                  <a:close/>
                  <a:moveTo>
                    <a:pt x="128412" y="38100"/>
                  </a:moveTo>
                  <a:cubicBezTo>
                    <a:pt x="178223" y="38100"/>
                    <a:pt x="218717" y="78893"/>
                    <a:pt x="218717" y="128710"/>
                  </a:cubicBezTo>
                  <a:cubicBezTo>
                    <a:pt x="218717" y="142428"/>
                    <a:pt x="215492" y="155062"/>
                    <a:pt x="210116" y="166975"/>
                  </a:cubicBezTo>
                  <a:cubicBezTo>
                    <a:pt x="209400" y="168780"/>
                    <a:pt x="207966" y="169502"/>
                    <a:pt x="206174" y="169502"/>
                  </a:cubicBezTo>
                  <a:cubicBezTo>
                    <a:pt x="205458" y="169502"/>
                    <a:pt x="204741" y="169502"/>
                    <a:pt x="204383" y="169141"/>
                  </a:cubicBezTo>
                  <a:cubicBezTo>
                    <a:pt x="201874" y="168419"/>
                    <a:pt x="201158" y="165531"/>
                    <a:pt x="202233" y="163365"/>
                  </a:cubicBezTo>
                  <a:cubicBezTo>
                    <a:pt x="207250" y="152535"/>
                    <a:pt x="209758" y="140984"/>
                    <a:pt x="209758" y="128710"/>
                  </a:cubicBezTo>
                  <a:cubicBezTo>
                    <a:pt x="209758" y="83585"/>
                    <a:pt x="173206" y="47125"/>
                    <a:pt x="128412" y="47125"/>
                  </a:cubicBezTo>
                  <a:cubicBezTo>
                    <a:pt x="105836" y="47125"/>
                    <a:pt x="83976" y="56511"/>
                    <a:pt x="68567" y="73478"/>
                  </a:cubicBezTo>
                  <a:cubicBezTo>
                    <a:pt x="66775" y="75283"/>
                    <a:pt x="64267" y="75283"/>
                    <a:pt x="62117" y="73839"/>
                  </a:cubicBezTo>
                  <a:cubicBezTo>
                    <a:pt x="60683" y="72034"/>
                    <a:pt x="60325" y="69146"/>
                    <a:pt x="62117" y="67341"/>
                  </a:cubicBezTo>
                  <a:cubicBezTo>
                    <a:pt x="78959" y="48569"/>
                    <a:pt x="103327" y="38100"/>
                    <a:pt x="128412" y="38100"/>
                  </a:cubicBezTo>
                  <a:close/>
                  <a:moveTo>
                    <a:pt x="129050" y="8987"/>
                  </a:moveTo>
                  <a:cubicBezTo>
                    <a:pt x="62907" y="8987"/>
                    <a:pt x="8987" y="62548"/>
                    <a:pt x="8987" y="128691"/>
                  </a:cubicBezTo>
                  <a:cubicBezTo>
                    <a:pt x="8987" y="194834"/>
                    <a:pt x="62907" y="248754"/>
                    <a:pt x="129050" y="248754"/>
                  </a:cubicBezTo>
                  <a:cubicBezTo>
                    <a:pt x="152775" y="248754"/>
                    <a:pt x="175062" y="241924"/>
                    <a:pt x="193754" y="229702"/>
                  </a:cubicBezTo>
                  <a:lnTo>
                    <a:pt x="177938" y="183690"/>
                  </a:lnTo>
                  <a:cubicBezTo>
                    <a:pt x="177219" y="182252"/>
                    <a:pt x="177578" y="180095"/>
                    <a:pt x="179016" y="179017"/>
                  </a:cubicBezTo>
                  <a:cubicBezTo>
                    <a:pt x="180095" y="177938"/>
                    <a:pt x="181892" y="177219"/>
                    <a:pt x="183689" y="177938"/>
                  </a:cubicBezTo>
                  <a:lnTo>
                    <a:pt x="230061" y="193755"/>
                  </a:lnTo>
                  <a:cubicBezTo>
                    <a:pt x="241923" y="175063"/>
                    <a:pt x="249113" y="152775"/>
                    <a:pt x="249113" y="128691"/>
                  </a:cubicBezTo>
                  <a:cubicBezTo>
                    <a:pt x="249113" y="62548"/>
                    <a:pt x="195192" y="8987"/>
                    <a:pt x="129050" y="8987"/>
                  </a:cubicBezTo>
                  <a:close/>
                  <a:moveTo>
                    <a:pt x="129050" y="0"/>
                  </a:moveTo>
                  <a:cubicBezTo>
                    <a:pt x="200225" y="0"/>
                    <a:pt x="258100" y="57875"/>
                    <a:pt x="258100" y="128691"/>
                  </a:cubicBezTo>
                  <a:cubicBezTo>
                    <a:pt x="258100" y="153854"/>
                    <a:pt x="250910" y="176860"/>
                    <a:pt x="238329" y="196990"/>
                  </a:cubicBezTo>
                  <a:lnTo>
                    <a:pt x="290092" y="214604"/>
                  </a:lnTo>
                  <a:cubicBezTo>
                    <a:pt x="292249" y="215323"/>
                    <a:pt x="293328" y="216761"/>
                    <a:pt x="293328" y="218559"/>
                  </a:cubicBezTo>
                  <a:cubicBezTo>
                    <a:pt x="293328" y="220356"/>
                    <a:pt x="292249" y="222153"/>
                    <a:pt x="290811" y="222872"/>
                  </a:cubicBezTo>
                  <a:lnTo>
                    <a:pt x="243721" y="243722"/>
                  </a:lnTo>
                  <a:lnTo>
                    <a:pt x="222872" y="290453"/>
                  </a:lnTo>
                  <a:cubicBezTo>
                    <a:pt x="222153" y="292250"/>
                    <a:pt x="220715" y="293329"/>
                    <a:pt x="218558" y="293329"/>
                  </a:cubicBezTo>
                  <a:cubicBezTo>
                    <a:pt x="216761" y="292969"/>
                    <a:pt x="214963" y="292250"/>
                    <a:pt x="214604" y="290093"/>
                  </a:cubicBezTo>
                  <a:lnTo>
                    <a:pt x="196630" y="238330"/>
                  </a:lnTo>
                  <a:cubicBezTo>
                    <a:pt x="177219" y="250552"/>
                    <a:pt x="153853" y="257741"/>
                    <a:pt x="129050" y="257741"/>
                  </a:cubicBezTo>
                  <a:cubicBezTo>
                    <a:pt x="57875" y="257741"/>
                    <a:pt x="0" y="199866"/>
                    <a:pt x="0" y="128691"/>
                  </a:cubicBezTo>
                  <a:cubicBezTo>
                    <a:pt x="0" y="57875"/>
                    <a:pt x="57875" y="0"/>
                    <a:pt x="129050" y="0"/>
                  </a:cubicBezTo>
                  <a:close/>
                </a:path>
              </a:pathLst>
            </a:custGeom>
            <a:solidFill>
              <a:srgbClr val="00A6CA"/>
            </a:solidFill>
            <a:ln>
              <a:noFill/>
            </a:ln>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AAAAAA"/>
                </a:solidFill>
                <a:effectLst/>
                <a:uLnTx/>
                <a:uFillTx/>
              </a:endParaRPr>
            </a:p>
          </p:txBody>
        </p:sp>
        <p:sp>
          <p:nvSpPr>
            <p:cNvPr id="266" name="Freeform 5">
              <a:extLst>
                <a:ext uri="{FF2B5EF4-FFF2-40B4-BE49-F238E27FC236}">
                  <a16:creationId xmlns:a16="http://schemas.microsoft.com/office/drawing/2014/main" id="{CED398A1-E327-9244-9D7B-7DC452A2E17D}"/>
                </a:ext>
              </a:extLst>
            </p:cNvPr>
            <p:cNvSpPr>
              <a:spLocks noChangeAspect="1" noChangeArrowheads="1"/>
            </p:cNvSpPr>
            <p:nvPr/>
          </p:nvSpPr>
          <p:spPr bwMode="auto">
            <a:xfrm>
              <a:off x="5976050" y="3183337"/>
              <a:ext cx="214730" cy="365229"/>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rgbClr val="00A6CA"/>
            </a:solidFill>
            <a:ln>
              <a:no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A6CA"/>
                </a:solidFill>
                <a:effectLst/>
                <a:uLnTx/>
                <a:uFillTx/>
                <a:latin typeface="Arial"/>
              </a:endParaRPr>
            </a:p>
          </p:txBody>
        </p:sp>
      </p:grpSp>
      <p:sp>
        <p:nvSpPr>
          <p:cNvPr id="289" name="TextBox 288"/>
          <p:cNvSpPr txBox="1"/>
          <p:nvPr/>
        </p:nvSpPr>
        <p:spPr>
          <a:xfrm>
            <a:off x="8128190" y="2635416"/>
            <a:ext cx="3081553" cy="830997"/>
          </a:xfrm>
          <a:prstGeom prst="rect">
            <a:avLst/>
          </a:prstGeom>
          <a:noFill/>
        </p:spPr>
        <p:txBody>
          <a:bodyPr wrap="square" rtlCol="0">
            <a:spAutoFit/>
          </a:bodyPr>
          <a:lstStyle/>
          <a:p>
            <a:pPr algn="ctr"/>
            <a:r>
              <a:rPr lang="es-ES" sz="1600" b="1" dirty="0">
                <a:solidFill>
                  <a:srgbClr val="000000"/>
                </a:solidFill>
              </a:rPr>
              <a:t>Seguro cibernético intangible, Activos Digitales
</a:t>
            </a:r>
            <a:endParaRPr lang="en-US" sz="1600" b="1" dirty="0">
              <a:solidFill>
                <a:srgbClr val="000000"/>
              </a:solidFill>
              <a:latin typeface="Arial"/>
            </a:endParaRPr>
          </a:p>
        </p:txBody>
      </p:sp>
      <p:sp>
        <p:nvSpPr>
          <p:cNvPr id="419" name="TextBox 418"/>
          <p:cNvSpPr txBox="1"/>
          <p:nvPr/>
        </p:nvSpPr>
        <p:spPr>
          <a:xfrm>
            <a:off x="7805785" y="1363412"/>
            <a:ext cx="3702610" cy="707886"/>
          </a:xfrm>
          <a:prstGeom prst="rect">
            <a:avLst/>
          </a:prstGeom>
          <a:noFill/>
        </p:spPr>
        <p:txBody>
          <a:bodyPr wrap="square" rtlCol="0">
            <a:spAutoFit/>
          </a:bodyPr>
          <a:lstStyle/>
          <a:p>
            <a:pPr lvl="0" algn="ctr">
              <a:defRPr/>
            </a:pPr>
            <a:r>
              <a:rPr lang="en-US" sz="2000" b="1" kern="0" dirty="0" err="1">
                <a:solidFill>
                  <a:srgbClr val="000000"/>
                </a:solidFill>
              </a:rPr>
              <a:t>Cubierto</a:t>
            </a:r>
            <a:r>
              <a:rPr lang="en-US" sz="2000" b="1" kern="0" dirty="0">
                <a:solidFill>
                  <a:srgbClr val="000000"/>
                </a:solidFill>
              </a:rPr>
              <a:t> </a:t>
            </a:r>
            <a:r>
              <a:rPr lang="en-US" sz="2000" b="1" kern="0" dirty="0" err="1">
                <a:solidFill>
                  <a:srgbClr val="000000"/>
                </a:solidFill>
              </a:rPr>
              <a:t>implicitamente</a:t>
            </a:r>
            <a:r>
              <a:rPr lang="en-US" sz="2000" b="1" kern="0" dirty="0">
                <a:solidFill>
                  <a:srgbClr val="000000"/>
                </a:solidFill>
              </a:rPr>
              <a:t>
</a:t>
            </a:r>
            <a:endParaRPr kumimoji="0" lang="en-US" sz="2000" b="1" i="0" u="none" strike="noStrike" kern="0" cap="none" spc="0" normalizeH="0" baseline="0" noProof="0" dirty="0">
              <a:ln>
                <a:noFill/>
              </a:ln>
              <a:solidFill>
                <a:srgbClr val="000000"/>
              </a:solidFill>
              <a:effectLst/>
              <a:uLnTx/>
              <a:uFillTx/>
              <a:latin typeface="Arial"/>
            </a:endParaRPr>
          </a:p>
        </p:txBody>
      </p:sp>
      <p:sp>
        <p:nvSpPr>
          <p:cNvPr id="421" name="TextBox 420"/>
          <p:cNvSpPr txBox="1"/>
          <p:nvPr/>
        </p:nvSpPr>
        <p:spPr>
          <a:xfrm>
            <a:off x="857551" y="1363412"/>
            <a:ext cx="3177789" cy="707886"/>
          </a:xfrm>
          <a:prstGeom prst="rect">
            <a:avLst/>
          </a:prstGeom>
          <a:noFill/>
        </p:spPr>
        <p:txBody>
          <a:bodyPr wrap="square" rtlCol="0">
            <a:spAutoFit/>
          </a:bodyPr>
          <a:lstStyle/>
          <a:p>
            <a:pPr lvl="0" algn="ctr">
              <a:defRPr/>
            </a:pPr>
            <a:r>
              <a:rPr lang="en-US" sz="2000" b="1" kern="0" dirty="0" err="1">
                <a:solidFill>
                  <a:srgbClr val="000000"/>
                </a:solidFill>
              </a:rPr>
              <a:t>Excluido</a:t>
            </a:r>
            <a:r>
              <a:rPr lang="en-US" sz="2000" b="1" kern="0" dirty="0">
                <a:solidFill>
                  <a:srgbClr val="000000"/>
                </a:solidFill>
              </a:rPr>
              <a:t> </a:t>
            </a:r>
            <a:r>
              <a:rPr lang="en-US" sz="2000" b="1" kern="0" dirty="0" err="1">
                <a:solidFill>
                  <a:srgbClr val="000000"/>
                </a:solidFill>
              </a:rPr>
              <a:t>explícitamente</a:t>
            </a:r>
            <a:r>
              <a:rPr lang="en-US" sz="2000" b="1" kern="0" dirty="0">
                <a:solidFill>
                  <a:srgbClr val="000000"/>
                </a:solidFill>
              </a:rPr>
              <a:t>
</a:t>
            </a:r>
            <a:endParaRPr kumimoji="0" lang="en-US" sz="2000" b="1" i="0" u="none" strike="noStrike" kern="0" cap="none" spc="0" normalizeH="0" baseline="0" noProof="0" dirty="0">
              <a:ln>
                <a:noFill/>
              </a:ln>
              <a:solidFill>
                <a:srgbClr val="000000"/>
              </a:solidFill>
              <a:effectLst/>
              <a:uLnTx/>
              <a:uFillTx/>
              <a:latin typeface="Arial"/>
            </a:endParaRPr>
          </a:p>
        </p:txBody>
      </p:sp>
      <p:sp>
        <p:nvSpPr>
          <p:cNvPr id="422" name="Right Arrow 421"/>
          <p:cNvSpPr/>
          <p:nvPr/>
        </p:nvSpPr>
        <p:spPr>
          <a:xfrm>
            <a:off x="6530056" y="3226068"/>
            <a:ext cx="1238530" cy="408989"/>
          </a:xfrm>
          <a:prstGeom prst="rightArrow">
            <a:avLst/>
          </a:prstGeom>
          <a:solidFill>
            <a:srgbClr val="FFFFFF">
              <a:lumMod val="75000"/>
            </a:srgbClr>
          </a:solidFill>
          <a:ln w="25400" cap="flat" cmpd="sng" algn="ctr">
            <a:noFill/>
            <a:prstDash val="solid"/>
          </a:ln>
          <a:effectLst>
            <a:outerShdw blurRad="50800" dist="38100" dir="10800000" algn="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423" name="Right Arrow 422"/>
          <p:cNvSpPr/>
          <p:nvPr/>
        </p:nvSpPr>
        <p:spPr>
          <a:xfrm rot="10800000">
            <a:off x="4308787" y="3226066"/>
            <a:ext cx="1142910" cy="408989"/>
          </a:xfrm>
          <a:prstGeom prst="rightArrow">
            <a:avLst/>
          </a:prstGeom>
          <a:solidFill>
            <a:srgbClr val="FFFFFF">
              <a:lumMod val="75000"/>
            </a:srgbClr>
          </a:solidFill>
          <a:ln w="25400" cap="flat" cmpd="sng" algn="ctr">
            <a:noFill/>
            <a:prstDash val="solid"/>
          </a:ln>
          <a:effectLst>
            <a:outerShdw blurRad="50800" dist="38100" algn="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grpSp>
        <p:nvGrpSpPr>
          <p:cNvPr id="424" name="Group 423"/>
          <p:cNvGrpSpPr>
            <a:grpSpLocks noChangeAspect="1"/>
          </p:cNvGrpSpPr>
          <p:nvPr/>
        </p:nvGrpSpPr>
        <p:grpSpPr>
          <a:xfrm>
            <a:off x="5298308" y="2751623"/>
            <a:ext cx="1380810" cy="1380810"/>
            <a:chOff x="5786977" y="3586038"/>
            <a:chExt cx="3931920" cy="3931920"/>
          </a:xfrm>
        </p:grpSpPr>
        <p:sp>
          <p:nvSpPr>
            <p:cNvPr id="426" name="Freeform 86">
              <a:extLst>
                <a:ext uri="{FF2B5EF4-FFF2-40B4-BE49-F238E27FC236}">
                  <a16:creationId xmlns:a16="http://schemas.microsoft.com/office/drawing/2014/main" id="{6708B2A2-5E83-E64E-8E35-0229BCDFE92C}"/>
                </a:ext>
              </a:extLst>
            </p:cNvPr>
            <p:cNvSpPr>
              <a:spLocks noChangeArrowheads="1"/>
            </p:cNvSpPr>
            <p:nvPr/>
          </p:nvSpPr>
          <p:spPr bwMode="auto">
            <a:xfrm>
              <a:off x="5786977" y="3586038"/>
              <a:ext cx="3931920" cy="3931920"/>
            </a:xfrm>
            <a:prstGeom prst="ellipse">
              <a:avLst/>
            </a:prstGeom>
            <a:solidFill>
              <a:srgbClr val="FFFFFF"/>
            </a:solidFill>
            <a:ln w="38100">
              <a:solidFill>
                <a:srgbClr val="FF0000"/>
              </a:solidFill>
            </a:ln>
            <a:effectLst>
              <a:outerShdw blurRad="63500" sx="102000" sy="102000" algn="ctr" rotWithShape="0">
                <a:prstClr val="black">
                  <a:alpha val="40000"/>
                </a:prstClr>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800" b="1" i="0" u="none" strike="noStrike" kern="0" cap="none" spc="0" normalizeH="0" baseline="0" noProof="0" dirty="0">
                <a:ln>
                  <a:noFill/>
                </a:ln>
                <a:solidFill>
                  <a:srgbClr val="000000"/>
                </a:solidFill>
                <a:effectLst/>
                <a:uLnTx/>
                <a:uFillTx/>
                <a:latin typeface="Roboto Bold" charset="0"/>
              </a:endParaRPr>
            </a:p>
          </p:txBody>
        </p:sp>
        <p:sp>
          <p:nvSpPr>
            <p:cNvPr id="427" name="Freeform 86">
              <a:extLst>
                <a:ext uri="{FF2B5EF4-FFF2-40B4-BE49-F238E27FC236}">
                  <a16:creationId xmlns:a16="http://schemas.microsoft.com/office/drawing/2014/main" id="{7A7AC434-D509-8E44-B5FA-889FED1FC8F0}"/>
                </a:ext>
              </a:extLst>
            </p:cNvPr>
            <p:cNvSpPr>
              <a:spLocks noChangeAspect="1" noChangeArrowheads="1"/>
            </p:cNvSpPr>
            <p:nvPr/>
          </p:nvSpPr>
          <p:spPr bwMode="auto">
            <a:xfrm>
              <a:off x="6055317" y="3846863"/>
              <a:ext cx="3400330" cy="3400550"/>
            </a:xfrm>
            <a:prstGeom prst="ellipse">
              <a:avLst/>
            </a:prstGeom>
            <a:solidFill>
              <a:srgbClr val="FF0000"/>
            </a:solidFill>
            <a:ln w="57150">
              <a:noFill/>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800" b="1" i="0" u="none" strike="noStrike" kern="0" cap="none" spc="0" normalizeH="0" baseline="0" noProof="0" dirty="0">
                <a:ln>
                  <a:noFill/>
                </a:ln>
                <a:solidFill>
                  <a:srgbClr val="000000"/>
                </a:solidFill>
                <a:effectLst/>
                <a:uLnTx/>
                <a:uFillTx/>
                <a:latin typeface="Roboto Bold" charset="0"/>
              </a:endParaRPr>
            </a:p>
          </p:txBody>
        </p:sp>
      </p:grpSp>
      <p:sp>
        <p:nvSpPr>
          <p:cNvPr id="425" name="TextBox 424"/>
          <p:cNvSpPr txBox="1"/>
          <p:nvPr/>
        </p:nvSpPr>
        <p:spPr>
          <a:xfrm>
            <a:off x="5380871" y="3156990"/>
            <a:ext cx="1214043" cy="748923"/>
          </a:xfrm>
          <a:prstGeom prst="rect">
            <a:avLst/>
          </a:prstGeom>
          <a:noFill/>
        </p:spPr>
        <p:txBody>
          <a:bodyPr wrap="square" rtlCol="0">
            <a:spAutoFit/>
          </a:bodyPr>
          <a:lstStyle/>
          <a:p>
            <a:pPr lvl="0" algn="ctr">
              <a:defRPr/>
            </a:pPr>
            <a:r>
              <a:rPr lang="en-US" sz="1600" b="1" kern="0" dirty="0" err="1">
                <a:solidFill>
                  <a:srgbClr val="FFFFFF"/>
                </a:solidFill>
              </a:rPr>
              <a:t>Ciber</a:t>
            </a:r>
            <a:r>
              <a:rPr lang="en-US" sz="1600" b="1" kern="0" dirty="0">
                <a:solidFill>
                  <a:srgbClr val="FFFFFF"/>
                </a:solidFill>
              </a:rPr>
              <a:t> </a:t>
            </a:r>
            <a:r>
              <a:rPr lang="en-US" sz="1600" b="1" kern="0" dirty="0" err="1">
                <a:solidFill>
                  <a:srgbClr val="FFFFFF"/>
                </a:solidFill>
              </a:rPr>
              <a:t>silencioso</a:t>
            </a:r>
            <a:r>
              <a:rPr lang="en-US" sz="1600" b="1" kern="0" dirty="0">
                <a:solidFill>
                  <a:srgbClr val="FFFFFF"/>
                </a:solidFill>
              </a:rPr>
              <a:t>
</a:t>
            </a:r>
            <a:endParaRPr kumimoji="0" lang="en-US" sz="1600" b="1" i="0" u="none" strike="noStrike" kern="0" cap="none" spc="0" normalizeH="0" baseline="30000" noProof="0" dirty="0">
              <a:ln>
                <a:noFill/>
              </a:ln>
              <a:solidFill>
                <a:srgbClr val="FFFFFF"/>
              </a:solidFill>
              <a:effectLst/>
              <a:uLnTx/>
              <a:uFillTx/>
              <a:latin typeface="Arial"/>
            </a:endParaRPr>
          </a:p>
        </p:txBody>
      </p:sp>
      <p:sp>
        <p:nvSpPr>
          <p:cNvPr id="70" name="Title 1"/>
          <p:cNvSpPr>
            <a:spLocks noGrp="1"/>
          </p:cNvSpPr>
          <p:nvPr>
            <p:ph type="title"/>
          </p:nvPr>
        </p:nvSpPr>
        <p:spPr>
          <a:xfrm>
            <a:off x="131454" y="374286"/>
            <a:ext cx="11078289" cy="962928"/>
          </a:xfrm>
        </p:spPr>
        <p:txBody>
          <a:bodyPr>
            <a:normAutofit fontScale="90000"/>
          </a:bodyPr>
          <a:lstStyle/>
          <a:p>
            <a:pPr algn="ctr"/>
            <a:r>
              <a:rPr lang="es-ES" sz="2700" i="1" dirty="0"/>
              <a:t>La cobertura </a:t>
            </a:r>
            <a:r>
              <a:rPr lang="es-ES" sz="2700" i="1" dirty="0" err="1"/>
              <a:t>implicita</a:t>
            </a:r>
            <a:r>
              <a:rPr lang="es-ES" sz="2700" i="1" dirty="0"/>
              <a:t> del riesgos cibernéticos beneficia tanto a las aseguradoras como a los clientes</a:t>
            </a:r>
            <a:r>
              <a:rPr lang="es-ES" sz="2400" i="1" dirty="0"/>
              <a:t>
</a:t>
            </a:r>
            <a:endParaRPr lang="en-US" sz="2400" b="1" i="1" dirty="0"/>
          </a:p>
        </p:txBody>
      </p:sp>
      <p:sp>
        <p:nvSpPr>
          <p:cNvPr id="73" name="TextBox 72"/>
          <p:cNvSpPr txBox="1"/>
          <p:nvPr/>
        </p:nvSpPr>
        <p:spPr>
          <a:xfrm>
            <a:off x="2753544" y="5547353"/>
            <a:ext cx="7461931" cy="830997"/>
          </a:xfrm>
          <a:prstGeom prst="rect">
            <a:avLst/>
          </a:prstGeom>
          <a:noFill/>
        </p:spPr>
        <p:txBody>
          <a:bodyPr wrap="square" rtlCol="0">
            <a:spAutoFit/>
          </a:bodyPr>
          <a:lstStyle/>
          <a:p>
            <a:r>
              <a:rPr lang="es-ES" sz="1600" dirty="0">
                <a:solidFill>
                  <a:srgbClr val="000000"/>
                </a:solidFill>
              </a:rPr>
              <a:t>Las aseguradoras de P&amp;C pueden borrar las confusas brechas de cobertura y riesgo al entregar respaldos cibernéticos a sus asegurados </a:t>
            </a:r>
            <a:r>
              <a:rPr lang="en-US" sz="1600" dirty="0">
                <a:solidFill>
                  <a:srgbClr val="000000"/>
                </a:solidFill>
              </a:rPr>
              <a:t>tanto de </a:t>
            </a:r>
            <a:r>
              <a:rPr lang="es-MX" sz="1600" dirty="0">
                <a:solidFill>
                  <a:srgbClr val="000000"/>
                </a:solidFill>
              </a:rPr>
              <a:t>líneas</a:t>
            </a:r>
            <a:r>
              <a:rPr lang="en-US" sz="1600" dirty="0">
                <a:solidFill>
                  <a:srgbClr val="000000"/>
                </a:solidFill>
              </a:rPr>
              <a:t> </a:t>
            </a:r>
            <a:r>
              <a:rPr lang="en-US" sz="1600" dirty="0" err="1">
                <a:solidFill>
                  <a:srgbClr val="000000"/>
                </a:solidFill>
              </a:rPr>
              <a:t>comerciales</a:t>
            </a:r>
            <a:r>
              <a:rPr lang="en-US" sz="1600" dirty="0">
                <a:solidFill>
                  <a:srgbClr val="000000"/>
                </a:solidFill>
              </a:rPr>
              <a:t> </a:t>
            </a:r>
            <a:r>
              <a:rPr lang="en-US" sz="1600" dirty="0" err="1">
                <a:solidFill>
                  <a:srgbClr val="000000"/>
                </a:solidFill>
              </a:rPr>
              <a:t>como</a:t>
            </a:r>
            <a:r>
              <a:rPr lang="en-US" sz="1600" dirty="0">
                <a:solidFill>
                  <a:srgbClr val="000000"/>
                </a:solidFill>
              </a:rPr>
              <a:t> </a:t>
            </a:r>
            <a:r>
              <a:rPr lang="en-US" sz="1600" dirty="0" err="1">
                <a:solidFill>
                  <a:srgbClr val="000000"/>
                </a:solidFill>
              </a:rPr>
              <a:t>personales</a:t>
            </a:r>
            <a:r>
              <a:rPr lang="en-US" sz="1600" dirty="0">
                <a:solidFill>
                  <a:srgbClr val="000000"/>
                </a:solidFill>
              </a:rPr>
              <a:t> </a:t>
            </a:r>
            <a:endParaRPr lang="en-US" sz="1600" dirty="0">
              <a:solidFill>
                <a:srgbClr val="000000"/>
              </a:solidFill>
              <a:latin typeface="Arial"/>
            </a:endParaRPr>
          </a:p>
        </p:txBody>
      </p:sp>
      <p:sp>
        <p:nvSpPr>
          <p:cNvPr id="75" name="Rectangle 74"/>
          <p:cNvSpPr/>
          <p:nvPr/>
        </p:nvSpPr>
        <p:spPr>
          <a:xfrm>
            <a:off x="2129063" y="5542890"/>
            <a:ext cx="608002" cy="584775"/>
          </a:xfrm>
          <a:prstGeom prst="rect">
            <a:avLst/>
          </a:prstGeom>
          <a:solidFill>
            <a:srgbClr val="006B8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Shape 2605">
            <a:extLst>
              <a:ext uri="{FF2B5EF4-FFF2-40B4-BE49-F238E27FC236}">
                <a16:creationId xmlns:a16="http://schemas.microsoft.com/office/drawing/2014/main" id="{77DDDBBE-846C-284E-B47F-4A88D0A93CA3}"/>
              </a:ext>
            </a:extLst>
          </p:cNvPr>
          <p:cNvSpPr>
            <a:spLocks noChangeAspect="1"/>
          </p:cNvSpPr>
          <p:nvPr/>
        </p:nvSpPr>
        <p:spPr>
          <a:xfrm>
            <a:off x="2248426" y="5642404"/>
            <a:ext cx="385755" cy="385745"/>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1"/>
          </a:solidFill>
          <a:ln w="12700">
            <a:miter lim="400000"/>
          </a:ln>
        </p:spPr>
        <p:txBody>
          <a:bodyPr lIns="38090" tIns="38090" rIns="38090" bIns="38090" anchor="ctr"/>
          <a:lstStyle/>
          <a:p>
            <a:pPr marL="0" marR="0" lvl="0" indent="0" defTabSz="457063"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999" b="1"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Open Sans Semibold" charset="0"/>
              <a:ea typeface="Open Sans Semibold" charset="0"/>
              <a:cs typeface="Open Sans Semibold" charset="0"/>
              <a:sym typeface="Gill Sans"/>
            </a:endParaRPr>
          </a:p>
        </p:txBody>
      </p:sp>
      <p:sp>
        <p:nvSpPr>
          <p:cNvPr id="72" name="TextBox 71"/>
          <p:cNvSpPr txBox="1"/>
          <p:nvPr/>
        </p:nvSpPr>
        <p:spPr>
          <a:xfrm>
            <a:off x="3983186" y="6489745"/>
            <a:ext cx="5935305" cy="261610"/>
          </a:xfrm>
          <a:prstGeom prst="rect">
            <a:avLst/>
          </a:prstGeom>
          <a:noFill/>
        </p:spPr>
        <p:txBody>
          <a:bodyPr wrap="square" numCol="1" rtlCol="0">
            <a:spAutoFit/>
          </a:bodyPr>
          <a:lstStyle/>
          <a:p>
            <a:r>
              <a:rPr lang="en-US" sz="1100" baseline="30000" dirty="0">
                <a:latin typeface="Arial" panose="020B0604020202020204" pitchFamily="34" charset="0"/>
                <a:cs typeface="Arial" panose="020B0604020202020204" pitchFamily="34" charset="0"/>
              </a:rPr>
              <a:t>1</a:t>
            </a:r>
            <a:r>
              <a:rPr lang="en-US" sz="1100" i="1" dirty="0">
                <a:latin typeface="Arial" panose="020B0604020202020204" pitchFamily="34" charset="0"/>
                <a:cs typeface="Arial" panose="020B0604020202020204" pitchFamily="34" charset="0"/>
              </a:rPr>
              <a:t>Silent Cyber: Solutions Emerge Amid the Uncertainties</a:t>
            </a:r>
            <a:r>
              <a:rPr lang="en-US" sz="1100" dirty="0">
                <a:latin typeface="Arial" panose="020B0604020202020204" pitchFamily="34" charset="0"/>
                <a:cs typeface="Arial" panose="020B0604020202020204" pitchFamily="34" charset="0"/>
              </a:rPr>
              <a:t>, Guy Carpenter</a:t>
            </a:r>
            <a:r>
              <a:rPr lang="en-US" sz="1100" i="1"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2019</a:t>
            </a:r>
            <a:endParaRPr lang="en-US" sz="1100" baseline="30000" dirty="0">
              <a:latin typeface="Arial" panose="020B0604020202020204" pitchFamily="34" charset="0"/>
              <a:cs typeface="Arial" panose="020B0604020202020204" pitchFamily="34" charset="0"/>
            </a:endParaRPr>
          </a:p>
        </p:txBody>
      </p:sp>
      <p:sp>
        <p:nvSpPr>
          <p:cNvPr id="2" name="Rectangle 1"/>
          <p:cNvSpPr/>
          <p:nvPr/>
        </p:nvSpPr>
        <p:spPr>
          <a:xfrm>
            <a:off x="6524141" y="4084301"/>
            <a:ext cx="269625" cy="276999"/>
          </a:xfrm>
          <a:prstGeom prst="rect">
            <a:avLst/>
          </a:prstGeom>
        </p:spPr>
        <p:txBody>
          <a:bodyPr wrap="none">
            <a:spAutoFit/>
          </a:bodyPr>
          <a:lstStyle/>
          <a:p>
            <a:pPr lvl="0" algn="ctr">
              <a:defRPr/>
            </a:pPr>
            <a:r>
              <a:rPr lang="en-US" b="1" kern="0" baseline="30000" dirty="0">
                <a:latin typeface="Arial"/>
              </a:rPr>
              <a:t>1</a:t>
            </a:r>
          </a:p>
        </p:txBody>
      </p:sp>
    </p:spTree>
    <p:extLst>
      <p:ext uri="{BB962C8B-B14F-4D97-AF65-F5344CB8AC3E}">
        <p14:creationId xmlns:p14="http://schemas.microsoft.com/office/powerpoint/2010/main" val="1959631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a:graphicFrameLocks/>
          </p:cNvGraphicFramePr>
          <p:nvPr>
            <p:extLst>
              <p:ext uri="{D42A27DB-BD31-4B8C-83A1-F6EECF244321}">
                <p14:modId xmlns:p14="http://schemas.microsoft.com/office/powerpoint/2010/main" val="1902228682"/>
              </p:ext>
            </p:extLst>
          </p:nvPr>
        </p:nvGraphicFramePr>
        <p:xfrm>
          <a:off x="172453" y="2131188"/>
          <a:ext cx="11616981" cy="413433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CCF123CA-1273-4344-AA8A-B22DED89E433}"/>
              </a:ext>
            </a:extLst>
          </p:cNvPr>
          <p:cNvSpPr txBox="1"/>
          <p:nvPr/>
        </p:nvSpPr>
        <p:spPr>
          <a:xfrm>
            <a:off x="402566" y="969496"/>
            <a:ext cx="10006708"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s-ES" sz="2800" b="1" dirty="0">
                <a:cs typeface="Calibri"/>
              </a:rPr>
              <a:t>Al considerar una solución de protección cibernética, ¿cuál es la característica principal que le gustaría ver?</a:t>
            </a:r>
            <a:r>
              <a:rPr lang="en-US" sz="2800" b="1" dirty="0">
                <a:cs typeface="Calibri"/>
              </a:rPr>
              <a:t>?</a:t>
            </a:r>
          </a:p>
        </p:txBody>
      </p:sp>
      <p:sp>
        <p:nvSpPr>
          <p:cNvPr id="10" name="TextBox 9">
            <a:extLst>
              <a:ext uri="{FF2B5EF4-FFF2-40B4-BE49-F238E27FC236}">
                <a16:creationId xmlns:a16="http://schemas.microsoft.com/office/drawing/2014/main" id="{CCF123CA-1273-4344-AA8A-B22DED89E433}"/>
              </a:ext>
            </a:extLst>
          </p:cNvPr>
          <p:cNvSpPr txBox="1"/>
          <p:nvPr/>
        </p:nvSpPr>
        <p:spPr>
          <a:xfrm>
            <a:off x="402566" y="446276"/>
            <a:ext cx="1126655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n-US" sz="2800" dirty="0" err="1">
                <a:cs typeface="Calibri"/>
              </a:rPr>
              <a:t>Resultados</a:t>
            </a:r>
            <a:r>
              <a:rPr lang="en-US" sz="2800" dirty="0">
                <a:cs typeface="Calibri"/>
              </a:rPr>
              <a:t> de la </a:t>
            </a:r>
            <a:r>
              <a:rPr lang="en-US" sz="2800" dirty="0" err="1">
                <a:cs typeface="Calibri"/>
              </a:rPr>
              <a:t>encuesta</a:t>
            </a:r>
            <a:r>
              <a:rPr lang="en-US" sz="2800" dirty="0">
                <a:cs typeface="Calibri"/>
              </a:rPr>
              <a:t>:
</a:t>
            </a:r>
          </a:p>
        </p:txBody>
      </p:sp>
      <p:sp>
        <p:nvSpPr>
          <p:cNvPr id="9" name="TextBox 8"/>
          <p:cNvSpPr txBox="1"/>
          <p:nvPr/>
        </p:nvSpPr>
        <p:spPr>
          <a:xfrm>
            <a:off x="402566" y="5942359"/>
            <a:ext cx="2185737" cy="646331"/>
          </a:xfrm>
          <a:prstGeom prst="rect">
            <a:avLst/>
          </a:prstGeom>
          <a:noFill/>
        </p:spPr>
        <p:txBody>
          <a:bodyPr wrap="square" rtlCol="0">
            <a:spAutoFit/>
          </a:bodyPr>
          <a:lstStyle/>
          <a:p>
            <a:r>
              <a:rPr lang="en-US" sz="1200" dirty="0"/>
              <a:t>Source: TransUnion commissioned survey of 3,000 consumers, Feb. 2022</a:t>
            </a:r>
          </a:p>
        </p:txBody>
      </p:sp>
    </p:spTree>
    <p:extLst>
      <p:ext uri="{BB962C8B-B14F-4D97-AF65-F5344CB8AC3E}">
        <p14:creationId xmlns:p14="http://schemas.microsoft.com/office/powerpoint/2010/main" val="21162039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TextBox 255"/>
          <p:cNvSpPr txBox="1"/>
          <p:nvPr/>
        </p:nvSpPr>
        <p:spPr>
          <a:xfrm>
            <a:off x="181086" y="319092"/>
            <a:ext cx="3411211" cy="3539430"/>
          </a:xfrm>
          <a:prstGeom prst="rect">
            <a:avLst/>
          </a:prstGeom>
          <a:noFill/>
        </p:spPr>
        <p:txBody>
          <a:bodyPr wrap="square" rtlCol="0">
            <a:spAutoFit/>
          </a:bodyPr>
          <a:lstStyle/>
          <a:p>
            <a:pPr lvl="0">
              <a:defRPr/>
            </a:pPr>
            <a:r>
              <a:rPr lang="es-ES" sz="3200" b="1" dirty="0">
                <a:solidFill>
                  <a:prstClr val="black"/>
                </a:solidFill>
                <a:latin typeface="Arial" panose="020B0604020202020204" pitchFamily="34" charset="0"/>
                <a:cs typeface="Arial" panose="020B0604020202020204" pitchFamily="34" charset="0"/>
              </a:rPr>
              <a:t>Una solución cibernética integral 
debe incluir
cuatro áreas </a:t>
            </a:r>
          </a:p>
          <a:p>
            <a:pPr lvl="0">
              <a:defRPr/>
            </a:pPr>
            <a:r>
              <a:rPr lang="es-ES" sz="3200" b="1" dirty="0">
                <a:solidFill>
                  <a:prstClr val="black"/>
                </a:solidFill>
                <a:latin typeface="Arial" panose="020B0604020202020204" pitchFamily="34" charset="0"/>
                <a:cs typeface="Arial" panose="020B0604020202020204" pitchFamily="34" charset="0"/>
              </a:rPr>
              <a:t>principales
</a:t>
            </a:r>
            <a:endParaRPr kumimoji="0" lang="en-US" sz="3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Oval 1"/>
          <p:cNvSpPr>
            <a:spLocks noChangeAspect="1"/>
          </p:cNvSpPr>
          <p:nvPr/>
        </p:nvSpPr>
        <p:spPr>
          <a:xfrm>
            <a:off x="2731429" y="301744"/>
            <a:ext cx="6309360" cy="63093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Chart 4"/>
          <p:cNvGraphicFramePr/>
          <p:nvPr/>
        </p:nvGraphicFramePr>
        <p:xfrm>
          <a:off x="1595490" y="587166"/>
          <a:ext cx="8543805" cy="5699870"/>
        </p:xfrm>
        <a:graphic>
          <a:graphicData uri="http://schemas.openxmlformats.org/drawingml/2006/chart">
            <c:chart xmlns:c="http://schemas.openxmlformats.org/drawingml/2006/chart" xmlns:r="http://schemas.openxmlformats.org/officeDocument/2006/relationships" r:id="rId3"/>
          </a:graphicData>
        </a:graphic>
      </p:graphicFrame>
      <p:sp>
        <p:nvSpPr>
          <p:cNvPr id="140" name="TextBox 139"/>
          <p:cNvSpPr txBox="1"/>
          <p:nvPr/>
        </p:nvSpPr>
        <p:spPr>
          <a:xfrm rot="2823268">
            <a:off x="5949872" y="1251674"/>
            <a:ext cx="3022808" cy="1543336"/>
          </a:xfrm>
          <a:prstGeom prst="rect">
            <a:avLst/>
          </a:prstGeom>
          <a:noFill/>
        </p:spPr>
        <p:txBody>
          <a:bodyPr wrap="square" rtlCol="0">
            <a:prstTxWarp prst="textArchUp">
              <a:avLst>
                <a:gd name="adj" fmla="val 12875424"/>
              </a:avLst>
            </a:prstTxWarp>
            <a:spAutoFit/>
          </a:bodyPr>
          <a:lstStyle/>
          <a:p>
            <a:pPr lvl="0" algn="ctr">
              <a:defRPr/>
            </a:pPr>
            <a:r>
              <a:rPr kumimoji="0" lang="en-US" sz="2400" b="1" i="0" u="none" strike="noStrike" kern="1200" cap="none" spc="0" normalizeH="0" baseline="0" noProof="0" dirty="0">
                <a:ln>
                  <a:noFill/>
                </a:ln>
                <a:solidFill>
                  <a:srgbClr val="00A6CA"/>
                </a:solidFill>
                <a:effectLst/>
                <a:uLnTx/>
                <a:uFillTx/>
                <a:latin typeface="Arial" panose="020B0604020202020204" pitchFamily="34" charset="0"/>
                <a:ea typeface="+mn-ea"/>
                <a:cs typeface="Arial" panose="020B0604020202020204" pitchFamily="34" charset="0"/>
              </a:rPr>
              <a:t>2. </a:t>
            </a:r>
            <a:r>
              <a:rPr lang="es-ES" sz="2400" b="1" dirty="0">
                <a:solidFill>
                  <a:srgbClr val="00A6CA"/>
                </a:solidFill>
                <a:latin typeface="Arial" panose="020B0604020202020204" pitchFamily="34" charset="0"/>
                <a:cs typeface="Arial" panose="020B0604020202020204" pitchFamily="34" charset="0"/>
              </a:rPr>
              <a:t>Servicios previos a la pérdida</a:t>
            </a:r>
            <a:endParaRPr kumimoji="0" lang="en-US" sz="2400" b="1" i="0" u="none" strike="noStrike" kern="1200" cap="none" spc="0" normalizeH="0" baseline="0" noProof="0" dirty="0">
              <a:ln>
                <a:noFill/>
              </a:ln>
              <a:solidFill>
                <a:srgbClr val="00A6CA"/>
              </a:solidFill>
              <a:effectLst/>
              <a:uLnTx/>
              <a:uFillTx/>
              <a:latin typeface="Arial" panose="020B0604020202020204" pitchFamily="34" charset="0"/>
              <a:ea typeface="+mn-ea"/>
              <a:cs typeface="Arial" panose="020B0604020202020204" pitchFamily="34" charset="0"/>
            </a:endParaRPr>
          </a:p>
        </p:txBody>
      </p:sp>
      <p:sp>
        <p:nvSpPr>
          <p:cNvPr id="249" name="TextBox 248"/>
          <p:cNvSpPr txBox="1"/>
          <p:nvPr/>
        </p:nvSpPr>
        <p:spPr>
          <a:xfrm rot="18701515">
            <a:off x="5417185" y="3587551"/>
            <a:ext cx="3660887" cy="2176473"/>
          </a:xfrm>
          <a:prstGeom prst="rect">
            <a:avLst/>
          </a:prstGeom>
          <a:noFill/>
        </p:spPr>
        <p:txBody>
          <a:bodyPr wrap="square" rtlCol="0">
            <a:prstTxWarp prst="textArchDown">
              <a:avLst>
                <a:gd name="adj" fmla="val 1655508"/>
              </a:avLst>
            </a:prstTxWarp>
            <a:spAutoFit/>
          </a:bodyPr>
          <a:lstStyle/>
          <a:p>
            <a:pPr lvl="0" algn="ctr">
              <a:defRPr/>
            </a:pPr>
            <a:r>
              <a:rPr kumimoji="0" lang="en-US" sz="2400" b="1" i="0" u="none" strike="noStrike" kern="1200" cap="none" spc="0" normalizeH="0" baseline="0" noProof="0" dirty="0">
                <a:ln>
                  <a:noFill/>
                </a:ln>
                <a:solidFill>
                  <a:srgbClr val="FFC000">
                    <a:lumMod val="75000"/>
                  </a:srgbClr>
                </a:solidFill>
                <a:effectLst/>
                <a:uLnTx/>
                <a:uFillTx/>
                <a:latin typeface="Arial" panose="020B0604020202020204" pitchFamily="34" charset="0"/>
                <a:ea typeface="+mn-ea"/>
                <a:cs typeface="Arial" panose="020B0604020202020204" pitchFamily="34" charset="0"/>
              </a:rPr>
              <a:t>3. </a:t>
            </a:r>
            <a:r>
              <a:rPr lang="en-US" sz="2400" b="1" dirty="0" err="1">
                <a:solidFill>
                  <a:srgbClr val="FFC000">
                    <a:lumMod val="75000"/>
                  </a:srgbClr>
                </a:solidFill>
                <a:latin typeface="Arial" panose="020B0604020202020204" pitchFamily="34" charset="0"/>
                <a:cs typeface="Arial" panose="020B0604020202020204" pitchFamily="34" charset="0"/>
              </a:rPr>
              <a:t>Cobertura</a:t>
            </a:r>
            <a:r>
              <a:rPr lang="en-US" sz="2400" b="1" dirty="0">
                <a:solidFill>
                  <a:srgbClr val="FFC000">
                    <a:lumMod val="75000"/>
                  </a:srgbClr>
                </a:solidFill>
                <a:latin typeface="Arial" panose="020B0604020202020204" pitchFamily="34" charset="0"/>
                <a:cs typeface="Arial" panose="020B0604020202020204" pitchFamily="34" charset="0"/>
              </a:rPr>
              <a:t> integral</a:t>
            </a:r>
            <a:endParaRPr kumimoji="0" lang="en-US" sz="2400" b="1" i="0" u="none" strike="noStrike" kern="1200" cap="none" spc="0" normalizeH="0" baseline="0" noProof="0" dirty="0">
              <a:ln>
                <a:noFill/>
              </a:ln>
              <a:solidFill>
                <a:srgbClr val="FFC000">
                  <a:lumMod val="75000"/>
                </a:srgbClr>
              </a:solidFill>
              <a:effectLst/>
              <a:uLnTx/>
              <a:uFillTx/>
              <a:latin typeface="Arial" panose="020B0604020202020204" pitchFamily="34" charset="0"/>
              <a:ea typeface="+mn-ea"/>
              <a:cs typeface="Arial" panose="020B0604020202020204" pitchFamily="34" charset="0"/>
            </a:endParaRPr>
          </a:p>
        </p:txBody>
      </p:sp>
      <p:sp>
        <p:nvSpPr>
          <p:cNvPr id="250" name="TextBox 249"/>
          <p:cNvSpPr txBox="1"/>
          <p:nvPr/>
        </p:nvSpPr>
        <p:spPr>
          <a:xfrm rot="18683234">
            <a:off x="2765735" y="1263970"/>
            <a:ext cx="3022808" cy="1543336"/>
          </a:xfrm>
          <a:prstGeom prst="rect">
            <a:avLst/>
          </a:prstGeom>
          <a:noFill/>
        </p:spPr>
        <p:txBody>
          <a:bodyPr wrap="square" rtlCol="0">
            <a:prstTxWarp prst="textArchUp">
              <a:avLst>
                <a:gd name="adj" fmla="val 13112137"/>
              </a:avLst>
            </a:prstTxWarp>
            <a:spAutoFit/>
          </a:bodyPr>
          <a:lstStyle/>
          <a:p>
            <a:pPr lvl="0" algn="ctr">
              <a:defRPr/>
            </a:pPr>
            <a:r>
              <a:rPr kumimoji="0" lang="en-US" sz="2400" b="1" i="0" u="none" strike="noStrike" kern="1200" cap="none" spc="0" normalizeH="0" baseline="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rPr>
              <a:t>1. </a:t>
            </a:r>
            <a:r>
              <a:rPr lang="en-US" sz="4400" b="1" dirty="0" err="1">
                <a:solidFill>
                  <a:srgbClr val="70AD47">
                    <a:lumMod val="75000"/>
                  </a:srgbClr>
                </a:solidFill>
                <a:latin typeface="Arial" panose="020B0604020202020204" pitchFamily="34" charset="0"/>
                <a:cs typeface="Arial" panose="020B0604020202020204" pitchFamily="34" charset="0"/>
              </a:rPr>
              <a:t>Evaluación</a:t>
            </a:r>
            <a:r>
              <a:rPr lang="en-US" sz="4400" b="1" dirty="0">
                <a:solidFill>
                  <a:srgbClr val="70AD47">
                    <a:lumMod val="75000"/>
                  </a:srgbClr>
                </a:solidFill>
                <a:latin typeface="Arial" panose="020B0604020202020204" pitchFamily="34" charset="0"/>
                <a:cs typeface="Arial" panose="020B0604020202020204" pitchFamily="34" charset="0"/>
              </a:rPr>
              <a:t> de </a:t>
            </a:r>
            <a:r>
              <a:rPr lang="en-US" sz="4400" b="1" dirty="0" err="1">
                <a:solidFill>
                  <a:srgbClr val="70AD47">
                    <a:lumMod val="75000"/>
                  </a:srgbClr>
                </a:solidFill>
                <a:latin typeface="Arial" panose="020B0604020202020204" pitchFamily="34" charset="0"/>
                <a:cs typeface="Arial" panose="020B0604020202020204" pitchFamily="34" charset="0"/>
              </a:rPr>
              <a:t>riesgos</a:t>
            </a:r>
            <a:endParaRPr kumimoji="0" lang="en-US" sz="4400" b="1" i="0" u="none" strike="noStrike" kern="1200" cap="none" spc="0" normalizeH="0" baseline="0" noProof="0" dirty="0">
              <a:ln>
                <a:noFill/>
              </a:ln>
              <a:solidFill>
                <a:srgbClr val="70AD47">
                  <a:lumMod val="75000"/>
                </a:srgbClr>
              </a:solidFill>
              <a:effectLst/>
              <a:uLnTx/>
              <a:uFillTx/>
              <a:latin typeface="Arial" panose="020B0604020202020204" pitchFamily="34" charset="0"/>
              <a:ea typeface="+mn-ea"/>
              <a:cs typeface="Arial" panose="020B0604020202020204" pitchFamily="34" charset="0"/>
            </a:endParaRPr>
          </a:p>
        </p:txBody>
      </p:sp>
      <p:sp>
        <p:nvSpPr>
          <p:cNvPr id="27" name="TextBox 26"/>
          <p:cNvSpPr txBox="1"/>
          <p:nvPr/>
        </p:nvSpPr>
        <p:spPr>
          <a:xfrm rot="2733598">
            <a:off x="2443389" y="3988723"/>
            <a:ext cx="3872914" cy="1734495"/>
          </a:xfrm>
          <a:prstGeom prst="rect">
            <a:avLst/>
          </a:prstGeom>
          <a:noFill/>
        </p:spPr>
        <p:txBody>
          <a:bodyPr wrap="square" rtlCol="0">
            <a:prstTxWarp prst="textArchDown">
              <a:avLst>
                <a:gd name="adj" fmla="val 122066"/>
              </a:avLst>
            </a:prstTxWarp>
            <a:spAutoFit/>
          </a:bodyPr>
          <a:lstStyle/>
          <a:p>
            <a:pPr lvl="0" algn="ctr">
              <a:defRPr/>
            </a:pPr>
            <a:r>
              <a:rPr kumimoji="0" lang="en-US" sz="2400" b="1" i="0" u="none" strike="noStrike" kern="1200" cap="none" spc="0" normalizeH="0" baseline="0" noProof="0" dirty="0">
                <a:ln>
                  <a:noFill/>
                </a:ln>
                <a:solidFill>
                  <a:srgbClr val="F17123"/>
                </a:solidFill>
                <a:effectLst/>
                <a:uLnTx/>
                <a:uFillTx/>
                <a:latin typeface="Arial" panose="020B0604020202020204" pitchFamily="34" charset="0"/>
                <a:ea typeface="+mn-ea"/>
                <a:cs typeface="Arial" panose="020B0604020202020204" pitchFamily="34" charset="0"/>
              </a:rPr>
              <a:t>4. </a:t>
            </a:r>
            <a:r>
              <a:rPr lang="es-ES" sz="2400" b="1" dirty="0">
                <a:solidFill>
                  <a:srgbClr val="F17123"/>
                </a:solidFill>
                <a:latin typeface="Arial" panose="020B0604020202020204" pitchFamily="34" charset="0"/>
                <a:cs typeface="Arial" panose="020B0604020202020204" pitchFamily="34" charset="0"/>
              </a:rPr>
              <a:t>Servicios posteriores a la pérdida</a:t>
            </a:r>
            <a:endParaRPr kumimoji="0" lang="en-US" sz="2400" b="1" i="0" u="none" strike="noStrike" kern="1200" cap="none" spc="0" normalizeH="0" baseline="0" noProof="0" dirty="0">
              <a:ln>
                <a:noFill/>
              </a:ln>
              <a:solidFill>
                <a:srgbClr val="F17123"/>
              </a:solidFill>
              <a:effectLst/>
              <a:uLnTx/>
              <a:uFillTx/>
              <a:latin typeface="Arial" panose="020B0604020202020204" pitchFamily="34" charset="0"/>
              <a:ea typeface="+mn-ea"/>
              <a:cs typeface="Arial" panose="020B0604020202020204" pitchFamily="34" charset="0"/>
            </a:endParaRPr>
          </a:p>
        </p:txBody>
      </p:sp>
      <p:sp>
        <p:nvSpPr>
          <p:cNvPr id="248" name="TextBox 247"/>
          <p:cNvSpPr txBox="1"/>
          <p:nvPr/>
        </p:nvSpPr>
        <p:spPr>
          <a:xfrm>
            <a:off x="6201069" y="4218535"/>
            <a:ext cx="1813134" cy="1323439"/>
          </a:xfrm>
          <a:prstGeom prst="rect">
            <a:avLst/>
          </a:prstGeom>
          <a:noFill/>
        </p:spPr>
        <p:txBody>
          <a:bodyPr wrap="square" rtlCol="0">
            <a:spAutoFit/>
          </a:bodyPr>
          <a:lstStyle/>
          <a:p>
            <a:pPr lvl="0" algn="r">
              <a:defRPr/>
            </a:pPr>
            <a:r>
              <a:rPr lang="en-US" sz="1600" i="1" dirty="0" err="1">
                <a:solidFill>
                  <a:prstClr val="black"/>
                </a:solidFill>
                <a:latin typeface="Arial" panose="020B0604020202020204" pitchFamily="34" charset="0"/>
                <a:cs typeface="Arial" panose="020B0604020202020204" pitchFamily="34" charset="0"/>
              </a:rPr>
              <a:t>Coberturas</a:t>
            </a:r>
            <a:r>
              <a:rPr lang="en-US" sz="1600" i="1" dirty="0">
                <a:solidFill>
                  <a:prstClr val="black"/>
                </a:solidFill>
                <a:latin typeface="Arial" panose="020B0604020202020204" pitchFamily="34" charset="0"/>
                <a:cs typeface="Arial" panose="020B0604020202020204" pitchFamily="34" charset="0"/>
              </a:rPr>
              <a:t> </a:t>
            </a:r>
            <a:r>
              <a:rPr lang="en-US" sz="1600" i="1" dirty="0" err="1">
                <a:solidFill>
                  <a:prstClr val="black"/>
                </a:solidFill>
                <a:latin typeface="Arial" panose="020B0604020202020204" pitchFamily="34" charset="0"/>
                <a:cs typeface="Arial" panose="020B0604020202020204" pitchFamily="34" charset="0"/>
              </a:rPr>
              <a:t>personales</a:t>
            </a:r>
            <a:r>
              <a:rPr lang="en-US" sz="1600" i="1" dirty="0">
                <a:solidFill>
                  <a:prstClr val="black"/>
                </a:solidFill>
                <a:latin typeface="Arial" panose="020B0604020202020204" pitchFamily="34" charset="0"/>
                <a:cs typeface="Arial" panose="020B0604020202020204" pitchFamily="34" charset="0"/>
              </a:rPr>
              <a:t> o </a:t>
            </a:r>
            <a:r>
              <a:rPr lang="en-US" sz="1600" i="1" dirty="0" err="1">
                <a:solidFill>
                  <a:prstClr val="black"/>
                </a:solidFill>
                <a:latin typeface="Arial" panose="020B0604020202020204" pitchFamily="34" charset="0"/>
                <a:cs typeface="Arial" panose="020B0604020202020204" pitchFamily="34" charset="0"/>
              </a:rPr>
              <a:t>comerciales</a:t>
            </a:r>
            <a:r>
              <a:rPr lang="en-US" sz="1600" i="1" dirty="0">
                <a:solidFill>
                  <a:prstClr val="black"/>
                </a:solidFill>
                <a:latin typeface="Arial" panose="020B0604020202020204" pitchFamily="34" charset="0"/>
                <a:cs typeface="Arial" panose="020B0604020202020204" pitchFamily="34" charset="0"/>
              </a:rPr>
              <a:t> a </a:t>
            </a:r>
            <a:r>
              <a:rPr lang="en-US" sz="1600" i="1" dirty="0" err="1">
                <a:solidFill>
                  <a:prstClr val="black"/>
                </a:solidFill>
                <a:latin typeface="Arial" panose="020B0604020202020204" pitchFamily="34" charset="0"/>
                <a:cs typeface="Arial" panose="020B0604020202020204" pitchFamily="34" charset="0"/>
              </a:rPr>
              <a:t>medida</a:t>
            </a:r>
            <a:r>
              <a:rPr lang="en-US" sz="1600" i="1" dirty="0">
                <a:solidFill>
                  <a:prstClr val="black"/>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7" name="TextBox 256"/>
          <p:cNvSpPr txBox="1"/>
          <p:nvPr/>
        </p:nvSpPr>
        <p:spPr>
          <a:xfrm>
            <a:off x="4896531" y="2911581"/>
            <a:ext cx="1938074" cy="1107996"/>
          </a:xfrm>
          <a:prstGeom prst="rect">
            <a:avLst/>
          </a:prstGeom>
          <a:noFill/>
        </p:spPr>
        <p:txBody>
          <a:bodyPr wrap="square" rtlCol="0">
            <a:spAutoFit/>
          </a:bodyPr>
          <a:lstStyle/>
          <a:p>
            <a:pPr lvl="0" algn="ctr">
              <a:defRPr/>
            </a:pPr>
            <a:r>
              <a:rPr lang="en-US" b="1" i="1" dirty="0" err="1">
                <a:solidFill>
                  <a:prstClr val="black"/>
                </a:solidFill>
                <a:latin typeface="Arial" panose="020B0604020202020204" pitchFamily="34" charset="0"/>
                <a:cs typeface="Arial" panose="020B0604020202020204" pitchFamily="34" charset="0"/>
              </a:rPr>
              <a:t>Oferta</a:t>
            </a:r>
            <a:r>
              <a:rPr lang="en-US" b="1" i="1" dirty="0">
                <a:solidFill>
                  <a:prstClr val="black"/>
                </a:solidFill>
                <a:latin typeface="Arial" panose="020B0604020202020204" pitchFamily="34" charset="0"/>
                <a:cs typeface="Arial" panose="020B0604020202020204" pitchFamily="34" charset="0"/>
              </a:rPr>
              <a:t> </a:t>
            </a:r>
            <a:r>
              <a:rPr lang="en-US" b="1" i="1" dirty="0" err="1">
                <a:solidFill>
                  <a:prstClr val="black"/>
                </a:solidFill>
                <a:latin typeface="Arial" panose="020B0604020202020204" pitchFamily="34" charset="0"/>
                <a:cs typeface="Arial" panose="020B0604020202020204" pitchFamily="34" charset="0"/>
              </a:rPr>
              <a:t>cibernética</a:t>
            </a:r>
            <a:r>
              <a:rPr lang="en-US" b="1" i="1" dirty="0">
                <a:solidFill>
                  <a:prstClr val="black"/>
                </a:solidFill>
                <a:latin typeface="Arial" panose="020B0604020202020204" pitchFamily="34" charset="0"/>
                <a:cs typeface="Arial" panose="020B0604020202020204" pitchFamily="34" charset="0"/>
              </a:rPr>
              <a:t> integral</a:t>
            </a:r>
            <a:r>
              <a:rPr lang="en-US" sz="900" b="1" i="1" dirty="0">
                <a:solidFill>
                  <a:prstClr val="black"/>
                </a:solidFill>
                <a:latin typeface="Arial" panose="020B0604020202020204" pitchFamily="34" charset="0"/>
                <a:cs typeface="Arial" panose="020B0604020202020204" pitchFamily="34" charset="0"/>
              </a:rPr>
              <a:t>1</a:t>
            </a:r>
            <a:r>
              <a:rPr lang="en-US" b="1" i="1" dirty="0">
                <a:solidFill>
                  <a:prstClr val="black"/>
                </a:solidFill>
                <a:latin typeface="Arial" panose="020B0604020202020204" pitchFamily="34" charset="0"/>
                <a:cs typeface="Arial" panose="020B0604020202020204" pitchFamily="34" charset="0"/>
              </a:rPr>
              <a:t>
</a:t>
            </a:r>
            <a:endParaRPr kumimoji="0" lang="en-US" sz="1800" b="1" i="1"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TextBox 27"/>
          <p:cNvSpPr txBox="1"/>
          <p:nvPr/>
        </p:nvSpPr>
        <p:spPr>
          <a:xfrm>
            <a:off x="3784351" y="2034162"/>
            <a:ext cx="1734997" cy="584775"/>
          </a:xfrm>
          <a:prstGeom prst="rect">
            <a:avLst/>
          </a:prstGeom>
          <a:noFill/>
        </p:spPr>
        <p:txBody>
          <a:bodyPr wrap="square" rtlCol="0">
            <a:spAutoFit/>
          </a:bodyPr>
          <a:lstStyle/>
          <a:p>
            <a:pPr lvl="0">
              <a:defRPr/>
            </a:pPr>
            <a:r>
              <a:rPr lang="en-US" sz="1600" i="1" dirty="0" err="1">
                <a:solidFill>
                  <a:prstClr val="black"/>
                </a:solidFill>
                <a:latin typeface="Arial" panose="020B0604020202020204" pitchFamily="34" charset="0"/>
                <a:cs typeface="Arial" panose="020B0604020202020204" pitchFamily="34" charset="0"/>
              </a:rPr>
              <a:t>Análisis</a:t>
            </a:r>
            <a:r>
              <a:rPr lang="en-US" sz="1600" i="1" dirty="0">
                <a:solidFill>
                  <a:prstClr val="black"/>
                </a:solidFill>
                <a:latin typeface="Arial" panose="020B0604020202020204" pitchFamily="34" charset="0"/>
                <a:cs typeface="Arial" panose="020B0604020202020204" pitchFamily="34" charset="0"/>
              </a:rPr>
              <a:t> de </a:t>
            </a:r>
            <a:r>
              <a:rPr lang="en-US" sz="1600" i="1" dirty="0" err="1">
                <a:solidFill>
                  <a:prstClr val="black"/>
                </a:solidFill>
                <a:latin typeface="Arial" panose="020B0604020202020204" pitchFamily="34" charset="0"/>
                <a:cs typeface="Arial" panose="020B0604020202020204" pitchFamily="34" charset="0"/>
              </a:rPr>
              <a:t>datos</a:t>
            </a:r>
            <a:r>
              <a:rPr lang="en-US" sz="1600" i="1" dirty="0">
                <a:solidFill>
                  <a:prstClr val="black"/>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TextBox 29"/>
          <p:cNvSpPr txBox="1"/>
          <p:nvPr/>
        </p:nvSpPr>
        <p:spPr>
          <a:xfrm>
            <a:off x="6028701" y="1981266"/>
            <a:ext cx="1759135" cy="830997"/>
          </a:xfrm>
          <a:prstGeom prst="rect">
            <a:avLst/>
          </a:prstGeom>
          <a:noFill/>
        </p:spPr>
        <p:txBody>
          <a:bodyPr wrap="square" rtlCol="0">
            <a:spAutoFit/>
          </a:bodyPr>
          <a:lstStyle/>
          <a:p>
            <a:pPr lvl="0" algn="r">
              <a:defRPr/>
            </a:pPr>
            <a:r>
              <a:rPr lang="en-US" sz="1600" i="1" dirty="0" err="1">
                <a:solidFill>
                  <a:prstClr val="white"/>
                </a:solidFill>
                <a:latin typeface="Arial" panose="020B0604020202020204" pitchFamily="34" charset="0"/>
                <a:cs typeface="Arial" panose="020B0604020202020204" pitchFamily="34" charset="0"/>
              </a:rPr>
              <a:t>Evaluaciones</a:t>
            </a:r>
            <a:r>
              <a:rPr lang="en-US" sz="1600" i="1" dirty="0">
                <a:solidFill>
                  <a:prstClr val="white"/>
                </a:solidFill>
                <a:latin typeface="Arial" panose="020B0604020202020204" pitchFamily="34" charset="0"/>
                <a:cs typeface="Arial" panose="020B0604020202020204" pitchFamily="34" charset="0"/>
              </a:rPr>
              <a:t> y </a:t>
            </a:r>
            <a:r>
              <a:rPr lang="en-US" sz="1600" i="1" dirty="0" err="1">
                <a:solidFill>
                  <a:prstClr val="white"/>
                </a:solidFill>
                <a:latin typeface="Arial" panose="020B0604020202020204" pitchFamily="34" charset="0"/>
                <a:cs typeface="Arial" panose="020B0604020202020204" pitchFamily="34" charset="0"/>
              </a:rPr>
              <a:t>puntajes</a:t>
            </a:r>
            <a:r>
              <a:rPr lang="en-US" sz="1600" i="1" dirty="0">
                <a:solidFill>
                  <a:prstClr val="white"/>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TextBox 30"/>
          <p:cNvSpPr txBox="1"/>
          <p:nvPr/>
        </p:nvSpPr>
        <p:spPr>
          <a:xfrm>
            <a:off x="5887845" y="1265925"/>
            <a:ext cx="1293692" cy="830997"/>
          </a:xfrm>
          <a:prstGeom prst="rect">
            <a:avLst/>
          </a:prstGeom>
          <a:noFill/>
        </p:spPr>
        <p:txBody>
          <a:bodyPr wrap="square" rtlCol="0">
            <a:spAutoFit/>
          </a:bodyPr>
          <a:lstStyle/>
          <a:p>
            <a:pPr lvl="0" algn="r">
              <a:defRPr/>
            </a:pPr>
            <a:r>
              <a:rPr lang="en-US" sz="1600" i="1" dirty="0" err="1">
                <a:solidFill>
                  <a:prstClr val="white"/>
                </a:solidFill>
                <a:latin typeface="Arial" panose="020B0604020202020204" pitchFamily="34" charset="0"/>
                <a:cs typeface="Arial" panose="020B0604020202020204" pitchFamily="34" charset="0"/>
              </a:rPr>
              <a:t>Consultoría</a:t>
            </a:r>
            <a:r>
              <a:rPr lang="en-US" sz="1600" i="1" dirty="0">
                <a:solidFill>
                  <a:prstClr val="white"/>
                </a:solidFill>
                <a:latin typeface="Arial" panose="020B0604020202020204" pitchFamily="34" charset="0"/>
                <a:cs typeface="Arial" panose="020B0604020202020204" pitchFamily="34" charset="0"/>
              </a:rPr>
              <a:t> </a:t>
            </a:r>
            <a:r>
              <a:rPr lang="en-US" sz="1600" i="1" dirty="0" err="1">
                <a:solidFill>
                  <a:prstClr val="white"/>
                </a:solidFill>
                <a:latin typeface="Arial" panose="020B0604020202020204" pitchFamily="34" charset="0"/>
                <a:cs typeface="Arial" panose="020B0604020202020204" pitchFamily="34" charset="0"/>
              </a:rPr>
              <a:t>forense</a:t>
            </a:r>
            <a:r>
              <a:rPr lang="en-US" sz="1600" i="1" dirty="0">
                <a:solidFill>
                  <a:prstClr val="white"/>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Box 31"/>
          <p:cNvSpPr txBox="1"/>
          <p:nvPr/>
        </p:nvSpPr>
        <p:spPr>
          <a:xfrm>
            <a:off x="6781029" y="2724548"/>
            <a:ext cx="1357809" cy="584775"/>
          </a:xfrm>
          <a:prstGeom prst="rect">
            <a:avLst/>
          </a:prstGeom>
          <a:noFill/>
        </p:spPr>
        <p:txBody>
          <a:bodyPr wrap="square" rtlCol="0">
            <a:spAutoFit/>
          </a:bodyPr>
          <a:lstStyle/>
          <a:p>
            <a:pPr lvl="0" algn="r">
              <a:defRPr/>
            </a:pPr>
            <a:r>
              <a:rPr lang="en-US" sz="1600" i="1" dirty="0" err="1">
                <a:solidFill>
                  <a:prstClr val="white"/>
                </a:solidFill>
                <a:latin typeface="Arial" panose="020B0604020202020204" pitchFamily="34" charset="0"/>
                <a:cs typeface="Arial" panose="020B0604020202020204" pitchFamily="34" charset="0"/>
              </a:rPr>
              <a:t>Educación</a:t>
            </a:r>
            <a:r>
              <a:rPr lang="en-US" sz="1600" i="1" dirty="0">
                <a:solidFill>
                  <a:prstClr val="white"/>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Box 32"/>
          <p:cNvSpPr txBox="1"/>
          <p:nvPr/>
        </p:nvSpPr>
        <p:spPr>
          <a:xfrm>
            <a:off x="3240958" y="3555623"/>
            <a:ext cx="2066067" cy="1077218"/>
          </a:xfrm>
          <a:prstGeom prst="rect">
            <a:avLst/>
          </a:prstGeom>
          <a:noFill/>
        </p:spPr>
        <p:txBody>
          <a:bodyPr wrap="square" rtlCol="0">
            <a:spAutoFit/>
          </a:bodyPr>
          <a:lstStyle/>
          <a:p>
            <a:pPr lvl="0">
              <a:defRPr/>
            </a:pPr>
            <a:r>
              <a:rPr lang="en-US" sz="1600" i="1" dirty="0" err="1">
                <a:solidFill>
                  <a:prstClr val="white"/>
                </a:solidFill>
                <a:latin typeface="Arial" panose="020B0604020202020204" pitchFamily="34" charset="0"/>
                <a:cs typeface="Arial" panose="020B0604020202020204" pitchFamily="34" charset="0"/>
              </a:rPr>
              <a:t>Soporte</a:t>
            </a:r>
            <a:r>
              <a:rPr lang="en-US" sz="1600" i="1" dirty="0">
                <a:solidFill>
                  <a:prstClr val="white"/>
                </a:solidFill>
                <a:latin typeface="Arial" panose="020B0604020202020204" pitchFamily="34" charset="0"/>
                <a:cs typeface="Arial" panose="020B0604020202020204" pitchFamily="34" charset="0"/>
              </a:rPr>
              <a:t> de </a:t>
            </a:r>
            <a:r>
              <a:rPr lang="en-US" sz="1600" i="1" dirty="0" err="1">
                <a:solidFill>
                  <a:prstClr val="white"/>
                </a:solidFill>
                <a:latin typeface="Arial" panose="020B0604020202020204" pitchFamily="34" charset="0"/>
                <a:cs typeface="Arial" panose="020B0604020202020204" pitchFamily="34" charset="0"/>
              </a:rPr>
              <a:t>respuesta</a:t>
            </a:r>
            <a:r>
              <a:rPr lang="en-US" sz="1600" i="1" dirty="0">
                <a:solidFill>
                  <a:prstClr val="white"/>
                </a:solidFill>
                <a:latin typeface="Arial" panose="020B0604020202020204" pitchFamily="34" charset="0"/>
                <a:cs typeface="Arial" panose="020B0604020202020204" pitchFamily="34" charset="0"/>
              </a:rPr>
              <a:t> a </a:t>
            </a:r>
            <a:r>
              <a:rPr lang="en-US" sz="1600" i="1" dirty="0" err="1">
                <a:solidFill>
                  <a:prstClr val="white"/>
                </a:solidFill>
                <a:latin typeface="Arial" panose="020B0604020202020204" pitchFamily="34" charset="0"/>
                <a:cs typeface="Arial" panose="020B0604020202020204" pitchFamily="34" charset="0"/>
              </a:rPr>
              <a:t>incidentes</a:t>
            </a:r>
            <a:r>
              <a:rPr lang="en-US" sz="1600" i="1" dirty="0">
                <a:solidFill>
                  <a:prstClr val="white"/>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p:cNvSpPr txBox="1"/>
          <p:nvPr/>
        </p:nvSpPr>
        <p:spPr>
          <a:xfrm>
            <a:off x="4500930" y="5228299"/>
            <a:ext cx="1886449" cy="1077218"/>
          </a:xfrm>
          <a:prstGeom prst="rect">
            <a:avLst/>
          </a:prstGeom>
          <a:noFill/>
        </p:spPr>
        <p:txBody>
          <a:bodyPr wrap="square" rtlCol="0">
            <a:spAutoFit/>
          </a:bodyPr>
          <a:lstStyle/>
          <a:p>
            <a:pPr lvl="0">
              <a:defRPr/>
            </a:pPr>
            <a:r>
              <a:rPr lang="en-US" sz="1600" i="1" dirty="0" err="1">
                <a:solidFill>
                  <a:prstClr val="white"/>
                </a:solidFill>
                <a:latin typeface="Arial" panose="020B0604020202020204" pitchFamily="34" charset="0"/>
                <a:cs typeface="Arial" panose="020B0604020202020204" pitchFamily="34" charset="0"/>
              </a:rPr>
              <a:t>Gestión</a:t>
            </a:r>
            <a:r>
              <a:rPr lang="en-US" sz="1600" i="1" dirty="0">
                <a:solidFill>
                  <a:prstClr val="white"/>
                </a:solidFill>
                <a:latin typeface="Arial" panose="020B0604020202020204" pitchFamily="34" charset="0"/>
                <a:cs typeface="Arial" panose="020B0604020202020204" pitchFamily="34" charset="0"/>
              </a:rPr>
              <a:t> de </a:t>
            </a:r>
            <a:r>
              <a:rPr lang="en-US" sz="1600" i="1" dirty="0" err="1">
                <a:solidFill>
                  <a:prstClr val="white"/>
                </a:solidFill>
                <a:latin typeface="Arial" panose="020B0604020202020204" pitchFamily="34" charset="0"/>
                <a:cs typeface="Arial" panose="020B0604020202020204" pitchFamily="34" charset="0"/>
              </a:rPr>
              <a:t>reclamaciones</a:t>
            </a:r>
            <a:r>
              <a:rPr lang="en-US" sz="1600" i="1" dirty="0">
                <a:solidFill>
                  <a:prstClr val="white"/>
                </a:solidFill>
                <a:latin typeface="Arial" panose="020B0604020202020204" pitchFamily="34" charset="0"/>
                <a:cs typeface="Arial" panose="020B0604020202020204" pitchFamily="34" charset="0"/>
              </a:rPr>
              <a:t> </a:t>
            </a:r>
            <a:r>
              <a:rPr lang="en-US" sz="1600" i="1" dirty="0" err="1">
                <a:solidFill>
                  <a:prstClr val="white"/>
                </a:solidFill>
                <a:latin typeface="Arial" panose="020B0604020202020204" pitchFamily="34" charset="0"/>
                <a:cs typeface="Arial" panose="020B0604020202020204" pitchFamily="34" charset="0"/>
              </a:rPr>
              <a:t>cibernéticas</a:t>
            </a:r>
            <a:r>
              <a:rPr lang="en-US" sz="1600" i="1" dirty="0">
                <a:solidFill>
                  <a:prstClr val="white"/>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 name="TextBox 34"/>
          <p:cNvSpPr txBox="1"/>
          <p:nvPr/>
        </p:nvSpPr>
        <p:spPr>
          <a:xfrm>
            <a:off x="3800958" y="4283976"/>
            <a:ext cx="2125651" cy="1323439"/>
          </a:xfrm>
          <a:prstGeom prst="rect">
            <a:avLst/>
          </a:prstGeom>
          <a:noFill/>
        </p:spPr>
        <p:txBody>
          <a:bodyPr wrap="square" rtlCol="0">
            <a:spAutoFit/>
          </a:bodyPr>
          <a:lstStyle/>
          <a:p>
            <a:pPr lvl="0">
              <a:defRPr/>
            </a:pPr>
            <a:r>
              <a:rPr lang="es-ES" sz="1600" i="1" dirty="0">
                <a:solidFill>
                  <a:prstClr val="white"/>
                </a:solidFill>
                <a:latin typeface="Arial" panose="020B0604020202020204" pitchFamily="34" charset="0"/>
                <a:cs typeface="Arial" panose="020B0604020202020204" pitchFamily="34" charset="0"/>
              </a:rPr>
              <a:t>Expertos forenses de TI y asesoría legal en violación de privacidad
</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TextBox 36"/>
          <p:cNvSpPr txBox="1"/>
          <p:nvPr/>
        </p:nvSpPr>
        <p:spPr>
          <a:xfrm>
            <a:off x="4356588" y="1307264"/>
            <a:ext cx="1734997" cy="584775"/>
          </a:xfrm>
          <a:prstGeom prst="rect">
            <a:avLst/>
          </a:prstGeom>
          <a:noFill/>
        </p:spPr>
        <p:txBody>
          <a:bodyPr wrap="square" rtlCol="0">
            <a:spAutoFit/>
          </a:bodyPr>
          <a:lstStyle/>
          <a:p>
            <a:pPr lvl="0">
              <a:defRPr/>
            </a:pPr>
            <a:r>
              <a:rPr lang="en-US" sz="1600" i="1" dirty="0" err="1">
                <a:solidFill>
                  <a:prstClr val="black"/>
                </a:solidFill>
                <a:latin typeface="Arial" panose="020B0604020202020204" pitchFamily="34" charset="0"/>
                <a:cs typeface="Arial" panose="020B0604020202020204" pitchFamily="34" charset="0"/>
              </a:rPr>
              <a:t>Suscripción</a:t>
            </a:r>
            <a:r>
              <a:rPr lang="en-US" sz="1600" i="1" dirty="0">
                <a:solidFill>
                  <a:prstClr val="black"/>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Box 37"/>
          <p:cNvSpPr txBox="1"/>
          <p:nvPr/>
        </p:nvSpPr>
        <p:spPr>
          <a:xfrm>
            <a:off x="3560552" y="2618937"/>
            <a:ext cx="1734997" cy="830997"/>
          </a:xfrm>
          <a:prstGeom prst="rect">
            <a:avLst/>
          </a:prstGeom>
          <a:noFill/>
        </p:spPr>
        <p:txBody>
          <a:bodyPr wrap="square" rtlCol="0">
            <a:spAutoFit/>
          </a:bodyPr>
          <a:lstStyle/>
          <a:p>
            <a:pPr lvl="0">
              <a:defRPr/>
            </a:pPr>
            <a:r>
              <a:rPr lang="en-US" sz="1600" i="1" dirty="0" err="1">
                <a:solidFill>
                  <a:prstClr val="black"/>
                </a:solidFill>
                <a:latin typeface="Arial" panose="020B0604020202020204" pitchFamily="34" charset="0"/>
                <a:cs typeface="Arial" panose="020B0604020202020204" pitchFamily="34" charset="0"/>
              </a:rPr>
              <a:t>Puntuación</a:t>
            </a:r>
            <a:r>
              <a:rPr lang="en-US" sz="1600" i="1" dirty="0">
                <a:solidFill>
                  <a:prstClr val="black"/>
                </a:solidFill>
                <a:latin typeface="Arial" panose="020B0604020202020204" pitchFamily="34" charset="0"/>
                <a:cs typeface="Arial" panose="020B0604020202020204" pitchFamily="34" charset="0"/>
              </a:rPr>
              <a:t> </a:t>
            </a:r>
            <a:r>
              <a:rPr lang="en-US" sz="1600" i="1" dirty="0" err="1">
                <a:solidFill>
                  <a:prstClr val="black"/>
                </a:solidFill>
                <a:latin typeface="Arial" panose="020B0604020202020204" pitchFamily="34" charset="0"/>
                <a:cs typeface="Arial" panose="020B0604020202020204" pitchFamily="34" charset="0"/>
              </a:rPr>
              <a:t>cibernética</a:t>
            </a:r>
            <a:r>
              <a:rPr lang="en-US" sz="1600" i="1" dirty="0">
                <a:solidFill>
                  <a:prstClr val="black"/>
                </a:solidFill>
                <a:latin typeface="Arial" panose="020B0604020202020204" pitchFamily="34" charset="0"/>
                <a:cs typeface="Arial" panose="020B0604020202020204" pitchFamily="34" charset="0"/>
              </a:rPr>
              <a:t>
</a:t>
            </a: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Circular Arrow 2"/>
          <p:cNvSpPr/>
          <p:nvPr/>
        </p:nvSpPr>
        <p:spPr>
          <a:xfrm>
            <a:off x="8395434" y="2654808"/>
            <a:ext cx="485766" cy="1783493"/>
          </a:xfrm>
          <a:prstGeom prst="circularArrow">
            <a:avLst>
              <a:gd name="adj1" fmla="val 12500"/>
              <a:gd name="adj2" fmla="val 1142319"/>
              <a:gd name="adj3" fmla="val 20457681"/>
              <a:gd name="adj4" fmla="val 16780734"/>
              <a:gd name="adj5" fmla="val 125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Circular Arrow 40"/>
          <p:cNvSpPr/>
          <p:nvPr/>
        </p:nvSpPr>
        <p:spPr>
          <a:xfrm rot="6071599">
            <a:off x="5010549" y="5262812"/>
            <a:ext cx="485766" cy="1783493"/>
          </a:xfrm>
          <a:prstGeom prst="circularArrow">
            <a:avLst>
              <a:gd name="adj1" fmla="val 12500"/>
              <a:gd name="adj2" fmla="val 1142319"/>
              <a:gd name="adj3" fmla="val 20457681"/>
              <a:gd name="adj4" fmla="val 16780734"/>
              <a:gd name="adj5" fmla="val 125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Circular Arrow 41"/>
          <p:cNvSpPr/>
          <p:nvPr/>
        </p:nvSpPr>
        <p:spPr>
          <a:xfrm rot="11158458">
            <a:off x="2914789" y="2185258"/>
            <a:ext cx="485766" cy="1783493"/>
          </a:xfrm>
          <a:prstGeom prst="circularArrow">
            <a:avLst>
              <a:gd name="adj1" fmla="val 12500"/>
              <a:gd name="adj2" fmla="val 1142319"/>
              <a:gd name="adj3" fmla="val 20457681"/>
              <a:gd name="adj4" fmla="val 16780734"/>
              <a:gd name="adj5" fmla="val 125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Circular Arrow 42"/>
          <p:cNvSpPr/>
          <p:nvPr/>
        </p:nvSpPr>
        <p:spPr>
          <a:xfrm rot="16440058">
            <a:off x="5975447" y="-140724"/>
            <a:ext cx="485766" cy="1783493"/>
          </a:xfrm>
          <a:prstGeom prst="circularArrow">
            <a:avLst>
              <a:gd name="adj1" fmla="val 12500"/>
              <a:gd name="adj2" fmla="val 1142319"/>
              <a:gd name="adj3" fmla="val 20457681"/>
              <a:gd name="adj4" fmla="val 16780734"/>
              <a:gd name="adj5" fmla="val 125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Box 57">
            <a:extLst>
              <a:ext uri="{FF2B5EF4-FFF2-40B4-BE49-F238E27FC236}">
                <a16:creationId xmlns:a16="http://schemas.microsoft.com/office/drawing/2014/main" id="{6007E407-126A-460C-B46D-AE1FF5422216}"/>
              </a:ext>
            </a:extLst>
          </p:cNvPr>
          <p:cNvSpPr txBox="1"/>
          <p:nvPr/>
        </p:nvSpPr>
        <p:spPr>
          <a:xfrm>
            <a:off x="9122607" y="446511"/>
            <a:ext cx="2817571" cy="535531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0" indent="-285750" defTabSz="1219140">
              <a:spcBef>
                <a:spcPts val="600"/>
              </a:spcBef>
              <a:spcAft>
                <a:spcPts val="600"/>
              </a:spcAft>
              <a:buFont typeface="Arial" panose="020B0604020202020204" pitchFamily="34" charset="0"/>
              <a:buChar char="•"/>
              <a:defRPr/>
            </a:pPr>
            <a:r>
              <a:rPr lang="es-ES" sz="1600" b="1" u="sng" dirty="0">
                <a:solidFill>
                  <a:srgbClr val="BF9000"/>
                </a:solidFill>
                <a:latin typeface="Arial" panose="020B0604020202020204" pitchFamily="34" charset="0"/>
                <a:cs typeface="Arial" panose="020B0604020202020204" pitchFamily="34" charset="0"/>
              </a:rPr>
              <a:t>Coberturas cibernéticas:
</a:t>
            </a:r>
            <a:r>
              <a:rPr lang="es-ES" sz="1400" dirty="0">
                <a:latin typeface="Arial" panose="020B0604020202020204" pitchFamily="34" charset="0"/>
                <a:cs typeface="Arial" panose="020B0604020202020204" pitchFamily="34" charset="0"/>
              </a:rPr>
              <a:t>Robo de identidad y fraude
</a:t>
            </a:r>
            <a:r>
              <a:rPr lang="es-ES" sz="1400" dirty="0" err="1">
                <a:latin typeface="Arial" panose="020B0604020202020204" pitchFamily="34" charset="0"/>
                <a:cs typeface="Arial" panose="020B0604020202020204" pitchFamily="34" charset="0"/>
              </a:rPr>
              <a:t>Ransomware</a:t>
            </a:r>
            <a:r>
              <a:rPr lang="es-ES" sz="1400" dirty="0">
                <a:latin typeface="Arial" panose="020B0604020202020204" pitchFamily="34" charset="0"/>
                <a:cs typeface="Arial" panose="020B0604020202020204" pitchFamily="34" charset="0"/>
              </a:rPr>
              <a:t>
Fraude y pérdida financiera
Extorsión y daño a la reputación (ingeniería social, acoso cibernético) 
Fraude minorista en línea
Exposición a responsabilidad civil
Compromiso de sistemas y datos
Violación de la privacidad (CL)
Interrupción del negocio (CL)
Restauración de datos (CL)</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TextBox 24"/>
          <p:cNvSpPr txBox="1"/>
          <p:nvPr/>
        </p:nvSpPr>
        <p:spPr>
          <a:xfrm>
            <a:off x="482732" y="5731776"/>
            <a:ext cx="2486099" cy="810478"/>
          </a:xfrm>
          <a:prstGeom prst="rect">
            <a:avLst/>
          </a:prstGeom>
          <a:noFill/>
        </p:spPr>
        <p:txBody>
          <a:bodyPr wrap="square" numCol="1" rtlCol="0">
            <a:spAutoFit/>
          </a:bodyPr>
          <a:lstStyle/>
          <a:p>
            <a:pPr lvl="0">
              <a:defRPr/>
            </a:pPr>
            <a:r>
              <a:rPr lang="es-ES" sz="1400" baseline="30000" dirty="0">
                <a:solidFill>
                  <a:prstClr val="black"/>
                </a:solidFill>
                <a:latin typeface="Arial" panose="020B0604020202020204" pitchFamily="34" charset="0"/>
                <a:cs typeface="Arial" panose="020B0604020202020204" pitchFamily="34" charset="0"/>
              </a:rPr>
              <a:t>1Por qué los ecosistemas de ciberseguridad son clave para el éxito en este mercado de seguros de rápida aparición, Accenture 2019
</a:t>
            </a:r>
            <a:endParaRPr kumimoji="0" lang="en-US" sz="14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240612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pPr algn="ctr"/>
            <a:r>
              <a:rPr lang="en-US" sz="2700" dirty="0" err="1">
                <a:cs typeface="Gisha" panose="020B0502040204020203" pitchFamily="34" charset="-79"/>
              </a:rPr>
              <a:t>Nuestros</a:t>
            </a:r>
            <a:r>
              <a:rPr lang="en-US" sz="2700" dirty="0">
                <a:cs typeface="Gisha" panose="020B0502040204020203" pitchFamily="34" charset="-79"/>
              </a:rPr>
              <a:t> </a:t>
            </a:r>
            <a:r>
              <a:rPr lang="en-US" sz="2700" dirty="0" err="1">
                <a:cs typeface="Gisha" panose="020B0502040204020203" pitchFamily="34" charset="-79"/>
              </a:rPr>
              <a:t>servicios</a:t>
            </a:r>
            <a:r>
              <a:rPr lang="en-US" sz="2700" dirty="0">
                <a:cs typeface="Gisha" panose="020B0502040204020203" pitchFamily="34" charset="-79"/>
              </a:rPr>
              <a:t> </a:t>
            </a:r>
            <a:r>
              <a:rPr lang="en-US" sz="2700" dirty="0" err="1">
                <a:cs typeface="Gisha" panose="020B0502040204020203" pitchFamily="34" charset="-79"/>
              </a:rPr>
              <a:t>cibernéticos</a:t>
            </a:r>
            <a:r>
              <a:rPr lang="en-US" sz="2700" dirty="0">
                <a:cs typeface="Gisha" panose="020B0502040204020203" pitchFamily="34" charset="-79"/>
              </a:rPr>
              <a:t> </a:t>
            </a:r>
            <a:r>
              <a:rPr lang="en-US" sz="2700" dirty="0" err="1">
                <a:cs typeface="Gisha" panose="020B0502040204020203" pitchFamily="34" charset="-79"/>
              </a:rPr>
              <a:t>respaldan</a:t>
            </a:r>
            <a:r>
              <a:rPr lang="en-US" sz="2700" dirty="0">
                <a:cs typeface="Gisha" panose="020B0502040204020203" pitchFamily="34" charset="-79"/>
              </a:rPr>
              <a:t> </a:t>
            </a:r>
            <a:r>
              <a:rPr lang="en-US" sz="2700" dirty="0" err="1">
                <a:cs typeface="Gisha" panose="020B0502040204020203" pitchFamily="34" charset="-79"/>
              </a:rPr>
              <a:t>coberturas</a:t>
            </a:r>
            <a:r>
              <a:rPr lang="en-US" sz="2700" dirty="0">
                <a:cs typeface="Gisha" panose="020B0502040204020203" pitchFamily="34" charset="-79"/>
              </a:rPr>
              <a:t> </a:t>
            </a:r>
            <a:r>
              <a:rPr lang="en-US" sz="2700" dirty="0" err="1">
                <a:cs typeface="Gisha" panose="020B0502040204020203" pitchFamily="34" charset="-79"/>
              </a:rPr>
              <a:t>cibernéticas</a:t>
            </a:r>
            <a:r>
              <a:rPr lang="en-US" sz="2700" dirty="0">
                <a:cs typeface="Gisha" panose="020B0502040204020203" pitchFamily="34" charset="-79"/>
              </a:rPr>
              <a:t> </a:t>
            </a:r>
            <a:r>
              <a:rPr lang="en-US" sz="2700" dirty="0" err="1">
                <a:cs typeface="Gisha" panose="020B0502040204020203" pitchFamily="34" charset="-79"/>
              </a:rPr>
              <a:t>comunes</a:t>
            </a:r>
            <a:r>
              <a:rPr lang="en-US" sz="2400" dirty="0">
                <a:cs typeface="Gisha" panose="020B0502040204020203" pitchFamily="34" charset="-79"/>
              </a:rPr>
              <a:t>
</a:t>
            </a:r>
            <a:endParaRPr lang="en-US" sz="2400" dirty="0"/>
          </a:p>
        </p:txBody>
      </p:sp>
      <p:sp>
        <p:nvSpPr>
          <p:cNvPr id="2" name="Footer Placeholder 1">
            <a:extLst>
              <a:ext uri="{FF2B5EF4-FFF2-40B4-BE49-F238E27FC236}">
                <a16:creationId xmlns:a16="http://schemas.microsoft.com/office/drawing/2014/main" id="{2CEF0AC7-66BC-4B46-9B13-9B52CDCFAC21}"/>
              </a:ext>
            </a:extLst>
          </p:cNvPr>
          <p:cNvSpPr>
            <a:spLocks noGrp="1"/>
          </p:cNvSpPr>
          <p:nvPr>
            <p:ph type="ftr" sz="quarter" idx="4294967295"/>
          </p:nvPr>
        </p:nvSpPr>
        <p:spPr/>
        <p:txBody>
          <a:bodyPr/>
          <a:lstStyle/>
          <a:p>
            <a:pPr defTabSz="1218987">
              <a:defRPr/>
            </a:pPr>
            <a:r>
              <a:rPr lang="en-US" sz="2400" dirty="0">
                <a:solidFill>
                  <a:srgbClr val="000000"/>
                </a:solidFill>
                <a:latin typeface="Arial"/>
              </a:rPr>
              <a:t> </a:t>
            </a:r>
          </a:p>
        </p:txBody>
      </p:sp>
      <p:sp>
        <p:nvSpPr>
          <p:cNvPr id="3" name="Slide Number Placeholder 2">
            <a:extLst>
              <a:ext uri="{FF2B5EF4-FFF2-40B4-BE49-F238E27FC236}">
                <a16:creationId xmlns:a16="http://schemas.microsoft.com/office/drawing/2014/main" id="{B619EA09-C625-4254-95B8-EE2A40FEE3CE}"/>
              </a:ext>
            </a:extLst>
          </p:cNvPr>
          <p:cNvSpPr>
            <a:spLocks noGrp="1"/>
          </p:cNvSpPr>
          <p:nvPr>
            <p:ph type="sldNum" sz="quarter" idx="4294967295"/>
          </p:nvPr>
        </p:nvSpPr>
        <p:spPr/>
        <p:txBody>
          <a:bodyPr/>
          <a:lstStyle/>
          <a:p>
            <a:pPr defTabSz="1218987">
              <a:defRPr/>
            </a:pPr>
            <a:r>
              <a:rPr lang="en-US" sz="2400" dirty="0">
                <a:solidFill>
                  <a:srgbClr val="000000"/>
                </a:solidFill>
                <a:latin typeface="Arial"/>
              </a:rPr>
              <a:t>  </a:t>
            </a:r>
          </a:p>
        </p:txBody>
      </p:sp>
      <p:pic>
        <p:nvPicPr>
          <p:cNvPr id="5" name="Picture 4">
            <a:extLst>
              <a:ext uri="{FF2B5EF4-FFF2-40B4-BE49-F238E27FC236}">
                <a16:creationId xmlns:a16="http://schemas.microsoft.com/office/drawing/2014/main" id="{1B043CF7-597B-4D7B-B41D-02E80AF7F9E1}"/>
              </a:ext>
            </a:extLst>
          </p:cNvPr>
          <p:cNvPicPr>
            <a:picLocks noChangeAspect="1"/>
          </p:cNvPicPr>
          <p:nvPr/>
        </p:nvPicPr>
        <p:blipFill>
          <a:blip r:embed="rId3"/>
          <a:stretch>
            <a:fillRect/>
          </a:stretch>
        </p:blipFill>
        <p:spPr>
          <a:xfrm>
            <a:off x="1244977" y="1966976"/>
            <a:ext cx="4176132" cy="2266443"/>
          </a:xfrm>
          <a:prstGeom prst="rect">
            <a:avLst/>
          </a:prstGeom>
        </p:spPr>
      </p:pic>
      <p:pic>
        <p:nvPicPr>
          <p:cNvPr id="6" name="Picture 5">
            <a:extLst>
              <a:ext uri="{FF2B5EF4-FFF2-40B4-BE49-F238E27FC236}">
                <a16:creationId xmlns:a16="http://schemas.microsoft.com/office/drawing/2014/main" id="{8F71030D-B416-41D8-B7EE-36F69C63B0A6}"/>
              </a:ext>
            </a:extLst>
          </p:cNvPr>
          <p:cNvPicPr>
            <a:picLocks noChangeAspect="1"/>
          </p:cNvPicPr>
          <p:nvPr/>
        </p:nvPicPr>
        <p:blipFill>
          <a:blip r:embed="rId4"/>
          <a:stretch>
            <a:fillRect/>
          </a:stretch>
        </p:blipFill>
        <p:spPr>
          <a:xfrm>
            <a:off x="6689889" y="2097164"/>
            <a:ext cx="3979701" cy="1715738"/>
          </a:xfrm>
          <a:prstGeom prst="rect">
            <a:avLst/>
          </a:prstGeom>
        </p:spPr>
      </p:pic>
      <p:cxnSp>
        <p:nvCxnSpPr>
          <p:cNvPr id="8" name="Straight Connector 7">
            <a:extLst>
              <a:ext uri="{FF2B5EF4-FFF2-40B4-BE49-F238E27FC236}">
                <a16:creationId xmlns:a16="http://schemas.microsoft.com/office/drawing/2014/main" id="{0194E5E3-A559-48D6-A101-4AFACD219E52}"/>
              </a:ext>
            </a:extLst>
          </p:cNvPr>
          <p:cNvCxnSpPr>
            <a:cxnSpLocks/>
          </p:cNvCxnSpPr>
          <p:nvPr/>
        </p:nvCxnSpPr>
        <p:spPr>
          <a:xfrm>
            <a:off x="6096000" y="1376825"/>
            <a:ext cx="0" cy="2988698"/>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68B114B-D6D0-49B4-A607-D903222C0F3B}"/>
              </a:ext>
            </a:extLst>
          </p:cNvPr>
          <p:cNvSpPr txBox="1"/>
          <p:nvPr/>
        </p:nvSpPr>
        <p:spPr>
          <a:xfrm>
            <a:off x="1609002" y="1015024"/>
            <a:ext cx="3286468" cy="923330"/>
          </a:xfrm>
          <a:prstGeom prst="rect">
            <a:avLst/>
          </a:prstGeom>
          <a:noFill/>
        </p:spPr>
        <p:txBody>
          <a:bodyPr wrap="square" rtlCol="0" anchor="ctr">
            <a:spAutoFit/>
          </a:bodyPr>
          <a:lstStyle/>
          <a:p>
            <a:pPr algn="ctr" defTabSz="1218987">
              <a:defRPr/>
            </a:pPr>
            <a:r>
              <a:rPr lang="en-US" dirty="0" err="1">
                <a:solidFill>
                  <a:srgbClr val="00A6CA"/>
                </a:solidFill>
              </a:rPr>
              <a:t>Servicios</a:t>
            </a:r>
            <a:r>
              <a:rPr lang="en-US" dirty="0">
                <a:solidFill>
                  <a:srgbClr val="00A6CA"/>
                </a:solidFill>
              </a:rPr>
              <a:t> </a:t>
            </a:r>
            <a:r>
              <a:rPr lang="en-US" dirty="0" err="1">
                <a:solidFill>
                  <a:srgbClr val="00A6CA"/>
                </a:solidFill>
              </a:rPr>
              <a:t>cibernéticos</a:t>
            </a:r>
            <a:r>
              <a:rPr lang="en-US" dirty="0">
                <a:solidFill>
                  <a:srgbClr val="00A6CA"/>
                </a:solidFill>
              </a:rPr>
              <a:t> </a:t>
            </a:r>
            <a:r>
              <a:rPr lang="en-US" dirty="0" err="1">
                <a:solidFill>
                  <a:srgbClr val="00A6CA"/>
                </a:solidFill>
              </a:rPr>
              <a:t>personales</a:t>
            </a:r>
            <a:r>
              <a:rPr lang="en-US" dirty="0">
                <a:solidFill>
                  <a:srgbClr val="00A6CA"/>
                </a:solidFill>
              </a:rPr>
              <a:t>
</a:t>
            </a:r>
            <a:endParaRPr lang="en-GB" dirty="0">
              <a:solidFill>
                <a:srgbClr val="00A6CA"/>
              </a:solidFill>
              <a:latin typeface="Arial"/>
            </a:endParaRPr>
          </a:p>
        </p:txBody>
      </p:sp>
      <p:sp>
        <p:nvSpPr>
          <p:cNvPr id="10" name="TextBox 9">
            <a:extLst>
              <a:ext uri="{FF2B5EF4-FFF2-40B4-BE49-F238E27FC236}">
                <a16:creationId xmlns:a16="http://schemas.microsoft.com/office/drawing/2014/main" id="{41F80DD7-79F9-4585-9F00-6DF647429F60}"/>
              </a:ext>
            </a:extLst>
          </p:cNvPr>
          <p:cNvSpPr txBox="1"/>
          <p:nvPr/>
        </p:nvSpPr>
        <p:spPr>
          <a:xfrm>
            <a:off x="6770893" y="1015024"/>
            <a:ext cx="3592375" cy="923330"/>
          </a:xfrm>
          <a:prstGeom prst="rect">
            <a:avLst/>
          </a:prstGeom>
          <a:noFill/>
        </p:spPr>
        <p:txBody>
          <a:bodyPr wrap="square" rtlCol="0" anchor="ctr">
            <a:spAutoFit/>
          </a:bodyPr>
          <a:lstStyle/>
          <a:p>
            <a:pPr algn="ctr" defTabSz="1218987">
              <a:defRPr/>
            </a:pPr>
            <a:r>
              <a:rPr lang="en-US" dirty="0" err="1">
                <a:solidFill>
                  <a:srgbClr val="00A6CA"/>
                </a:solidFill>
              </a:rPr>
              <a:t>Servicios</a:t>
            </a:r>
            <a:r>
              <a:rPr lang="en-US" dirty="0">
                <a:solidFill>
                  <a:srgbClr val="00A6CA"/>
                </a:solidFill>
              </a:rPr>
              <a:t> </a:t>
            </a:r>
            <a:r>
              <a:rPr lang="en-US" dirty="0" err="1">
                <a:solidFill>
                  <a:srgbClr val="00A6CA"/>
                </a:solidFill>
              </a:rPr>
              <a:t>cibernéticos</a:t>
            </a:r>
            <a:r>
              <a:rPr lang="en-US" dirty="0">
                <a:solidFill>
                  <a:srgbClr val="00A6CA"/>
                </a:solidFill>
              </a:rPr>
              <a:t> </a:t>
            </a:r>
            <a:r>
              <a:rPr lang="en-US" dirty="0" err="1">
                <a:solidFill>
                  <a:srgbClr val="00A6CA"/>
                </a:solidFill>
              </a:rPr>
              <a:t>comerciales</a:t>
            </a:r>
            <a:r>
              <a:rPr lang="en-US" dirty="0">
                <a:solidFill>
                  <a:srgbClr val="00A6CA"/>
                </a:solidFill>
              </a:rPr>
              <a:t>
</a:t>
            </a:r>
            <a:endParaRPr lang="en-GB" dirty="0">
              <a:solidFill>
                <a:srgbClr val="00A6CA"/>
              </a:solidFill>
              <a:latin typeface="Arial"/>
            </a:endParaRPr>
          </a:p>
        </p:txBody>
      </p:sp>
      <p:graphicFrame>
        <p:nvGraphicFramePr>
          <p:cNvPr id="15" name="Table 50">
            <a:extLst>
              <a:ext uri="{FF2B5EF4-FFF2-40B4-BE49-F238E27FC236}">
                <a16:creationId xmlns:a16="http://schemas.microsoft.com/office/drawing/2014/main" id="{5E8E5512-5BCB-FB42-AF0B-F9C48E5B9855}"/>
              </a:ext>
            </a:extLst>
          </p:cNvPr>
          <p:cNvGraphicFramePr>
            <a:graphicFrameLocks noGrp="1"/>
          </p:cNvGraphicFramePr>
          <p:nvPr>
            <p:extLst>
              <p:ext uri="{D42A27DB-BD31-4B8C-83A1-F6EECF244321}">
                <p14:modId xmlns:p14="http://schemas.microsoft.com/office/powerpoint/2010/main" val="2368424490"/>
              </p:ext>
            </p:extLst>
          </p:nvPr>
        </p:nvGraphicFramePr>
        <p:xfrm>
          <a:off x="691476" y="5083857"/>
          <a:ext cx="10809049" cy="1432496"/>
        </p:xfrm>
        <a:graphic>
          <a:graphicData uri="http://schemas.openxmlformats.org/drawingml/2006/table">
            <a:tbl>
              <a:tblPr firstRow="1" bandRow="1">
                <a:tableStyleId>{2D5ABB26-0587-4C30-8999-92F81FD0307C}</a:tableStyleId>
              </a:tblPr>
              <a:tblGrid>
                <a:gridCol w="1951024">
                  <a:extLst>
                    <a:ext uri="{9D8B030D-6E8A-4147-A177-3AD203B41FA5}">
                      <a16:colId xmlns:a16="http://schemas.microsoft.com/office/drawing/2014/main" val="2954350738"/>
                    </a:ext>
                  </a:extLst>
                </a:gridCol>
                <a:gridCol w="1625177">
                  <a:extLst>
                    <a:ext uri="{9D8B030D-6E8A-4147-A177-3AD203B41FA5}">
                      <a16:colId xmlns:a16="http://schemas.microsoft.com/office/drawing/2014/main" val="319039775"/>
                    </a:ext>
                  </a:extLst>
                </a:gridCol>
                <a:gridCol w="3870327">
                  <a:extLst>
                    <a:ext uri="{9D8B030D-6E8A-4147-A177-3AD203B41FA5}">
                      <a16:colId xmlns:a16="http://schemas.microsoft.com/office/drawing/2014/main" val="3305102439"/>
                    </a:ext>
                  </a:extLst>
                </a:gridCol>
                <a:gridCol w="3362521">
                  <a:extLst>
                    <a:ext uri="{9D8B030D-6E8A-4147-A177-3AD203B41FA5}">
                      <a16:colId xmlns:a16="http://schemas.microsoft.com/office/drawing/2014/main" val="1845053425"/>
                    </a:ext>
                  </a:extLst>
                </a:gridCol>
              </a:tblGrid>
              <a:tr h="494325">
                <a:tc>
                  <a:txBody>
                    <a:bodyPr/>
                    <a:lstStyle/>
                    <a:p>
                      <a:pPr marL="0" indent="0">
                        <a:buFont typeface="Arial" panose="020B0604020202020204" pitchFamily="34" charset="0"/>
                        <a:buNone/>
                      </a:pPr>
                      <a:r>
                        <a:rPr lang="en-US" sz="1300" dirty="0" err="1">
                          <a:latin typeface="+mn-lt"/>
                        </a:rPr>
                        <a:t>Documentar</a:t>
                      </a:r>
                      <a:r>
                        <a:rPr lang="en-US" sz="1300" dirty="0">
                          <a:latin typeface="+mn-lt"/>
                        </a:rPr>
                        <a:t> </a:t>
                      </a:r>
                      <a:r>
                        <a:rPr lang="en-US" sz="1300" dirty="0" err="1">
                          <a:latin typeface="+mn-lt"/>
                        </a:rPr>
                        <a:t>evidencia</a:t>
                      </a:r>
                      <a:r>
                        <a:rPr lang="en-US" sz="1300" dirty="0">
                          <a:latin typeface="+mn-lt"/>
                        </a:rPr>
                        <a:t>
</a:t>
                      </a:r>
                    </a:p>
                  </a:txBody>
                  <a:tcPr marL="121888" marR="121888" marT="60944" marB="60944" anchor="ctr">
                    <a:lnL w="12700" cap="flat" cmpd="sng" algn="ctr">
                      <a:noFill/>
                      <a:prstDash val="solid"/>
                      <a:round/>
                      <a:headEnd type="none" w="med" len="med"/>
                      <a:tailEnd type="none" w="med" len="med"/>
                    </a:lnL>
                    <a:lnR w="6350" cap="flat" cmpd="sng" algn="ctr">
                      <a:solidFill>
                        <a:srgbClr val="BEC1C4"/>
                      </a:solid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300" dirty="0" err="1">
                          <a:latin typeface="+mn-lt"/>
                        </a:rPr>
                        <a:t>Notificar</a:t>
                      </a:r>
                      <a:r>
                        <a:rPr lang="en-US" sz="1300" dirty="0">
                          <a:latin typeface="+mn-lt"/>
                        </a:rPr>
                        <a:t> a las </a:t>
                      </a:r>
                      <a:r>
                        <a:rPr lang="en-US" sz="1300" dirty="0" err="1">
                          <a:latin typeface="+mn-lt"/>
                        </a:rPr>
                        <a:t>autoridades</a:t>
                      </a:r>
                      <a:r>
                        <a:rPr lang="en-US" sz="1300" dirty="0">
                          <a:latin typeface="+mn-lt"/>
                        </a:rPr>
                        <a:t>
</a:t>
                      </a:r>
                    </a:p>
                  </a:txBody>
                  <a:tcPr marL="121888" marR="121888" marT="60944" marB="60944" anchor="ctr">
                    <a:lnL w="6350" cap="flat" cmpd="sng" algn="ctr">
                      <a:solidFill>
                        <a:srgbClr val="BEC1C4"/>
                      </a:solidFill>
                      <a:prstDash val="solid"/>
                      <a:round/>
                      <a:headEnd type="none" w="med" len="med"/>
                      <a:tailEnd type="none" w="med" len="med"/>
                    </a:lnL>
                    <a:lnR w="6350" cap="flat" cmpd="sng" algn="ctr">
                      <a:solidFill>
                        <a:srgbClr val="BEC1C4"/>
                      </a:solid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s-ES" sz="1300" dirty="0">
                          <a:latin typeface="+mn-lt"/>
                        </a:rPr>
                        <a:t>Enlace con bancos y proveedores de servicios financieros
</a:t>
                      </a:r>
                      <a:endParaRPr lang="en-US" sz="1300" dirty="0">
                        <a:latin typeface="+mn-lt"/>
                      </a:endParaRPr>
                    </a:p>
                  </a:txBody>
                  <a:tcPr marL="121888" marR="121888" marT="60944" marB="60944" anchor="ctr">
                    <a:lnL w="6350" cap="flat" cmpd="sng" algn="ctr">
                      <a:solidFill>
                        <a:srgbClr val="BEC1C4"/>
                      </a:solidFill>
                      <a:prstDash val="solid"/>
                      <a:round/>
                      <a:headEnd type="none" w="med" len="med"/>
                      <a:tailEnd type="none" w="med" len="med"/>
                    </a:lnL>
                    <a:lnR w="6350" cap="flat" cmpd="sng" algn="ctr">
                      <a:solidFill>
                        <a:srgbClr val="BEC1C4"/>
                      </a:solid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s-ES" sz="1300" dirty="0">
                          <a:latin typeface="+mn-lt"/>
                        </a:rPr>
                        <a:t>Determinar si hay copias de seguridad disponibles
</a:t>
                      </a:r>
                      <a:endParaRPr lang="en-US" sz="1300" dirty="0">
                        <a:latin typeface="+mn-lt"/>
                      </a:endParaRPr>
                    </a:p>
                  </a:txBody>
                  <a:tcPr marL="121888" marR="121888" marT="60944" marB="60944" anchor="ctr">
                    <a:lnL w="6350" cap="flat" cmpd="sng" algn="ctr">
                      <a:solidFill>
                        <a:srgbClr val="BEC1C4"/>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3248698"/>
                  </a:ext>
                </a:extLst>
              </a:tr>
              <a:tr h="494325">
                <a:tc>
                  <a:txBody>
                    <a:bodyPr/>
                    <a:lstStyle/>
                    <a:p>
                      <a:pPr marL="0" indent="0">
                        <a:buFont typeface="Arial" panose="020B0604020202020204" pitchFamily="34" charset="0"/>
                        <a:buNone/>
                      </a:pPr>
                      <a:r>
                        <a:rPr lang="en-US" sz="1300" dirty="0" err="1">
                          <a:latin typeface="+mn-lt"/>
                        </a:rPr>
                        <a:t>Cuentas</a:t>
                      </a:r>
                      <a:r>
                        <a:rPr lang="en-US" sz="1300" dirty="0">
                          <a:latin typeface="+mn-lt"/>
                        </a:rPr>
                        <a:t> </a:t>
                      </a:r>
                      <a:r>
                        <a:rPr lang="en-US" sz="1300" dirty="0" err="1">
                          <a:latin typeface="+mn-lt"/>
                        </a:rPr>
                        <a:t>seguras</a:t>
                      </a:r>
                      <a:r>
                        <a:rPr lang="en-US" sz="1300" dirty="0">
                          <a:latin typeface="+mn-lt"/>
                        </a:rPr>
                        <a:t>
</a:t>
                      </a:r>
                    </a:p>
                  </a:txBody>
                  <a:tcPr marL="121888" marR="121888" marT="60944" marB="60944" anchor="ctr">
                    <a:lnL w="12700" cap="flat" cmpd="sng" algn="ctr">
                      <a:noFill/>
                      <a:prstDash val="solid"/>
                      <a:round/>
                      <a:headEnd type="none" w="med" len="med"/>
                      <a:tailEnd type="none" w="med" len="med"/>
                    </a:lnL>
                    <a:lnR w="6350" cap="flat" cmpd="sng" algn="ctr">
                      <a:solidFill>
                        <a:srgbClr val="BEC1C4"/>
                      </a:solid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US" sz="1300" dirty="0" err="1">
                          <a:latin typeface="+mn-lt"/>
                        </a:rPr>
                        <a:t>Informes</a:t>
                      </a:r>
                      <a:r>
                        <a:rPr lang="en-US" sz="1300" dirty="0">
                          <a:latin typeface="+mn-lt"/>
                        </a:rPr>
                        <a:t> de </a:t>
                      </a:r>
                      <a:r>
                        <a:rPr lang="en-US" sz="1300" dirty="0" err="1">
                          <a:latin typeface="+mn-lt"/>
                        </a:rPr>
                        <a:t>archivo</a:t>
                      </a:r>
                      <a:r>
                        <a:rPr lang="en-US" sz="1300" dirty="0">
                          <a:latin typeface="+mn-lt"/>
                        </a:rPr>
                        <a:t>
</a:t>
                      </a:r>
                    </a:p>
                  </a:txBody>
                  <a:tcPr marL="121888" marR="121888" marT="60944" marB="60944" anchor="ctr">
                    <a:lnL w="6350" cap="flat" cmpd="sng" algn="ctr">
                      <a:solidFill>
                        <a:srgbClr val="BEC1C4"/>
                      </a:solidFill>
                      <a:prstDash val="solid"/>
                      <a:round/>
                      <a:headEnd type="none" w="med" len="med"/>
                      <a:tailEnd type="none" w="med" len="med"/>
                    </a:lnL>
                    <a:lnR w="6350" cap="flat" cmpd="sng" algn="ctr">
                      <a:solidFill>
                        <a:srgbClr val="BEC1C4"/>
                      </a:solid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s-ES" sz="1300" dirty="0">
                          <a:latin typeface="+mn-lt"/>
                        </a:rPr>
                        <a:t>Ayudar a cambiar las contraseñas
</a:t>
                      </a:r>
                      <a:endParaRPr lang="en-US" sz="1300" dirty="0">
                        <a:latin typeface="+mn-lt"/>
                      </a:endParaRPr>
                    </a:p>
                  </a:txBody>
                  <a:tcPr marL="121888" marR="121888" marT="60944" marB="60944" anchor="ctr">
                    <a:lnL w="6350" cap="flat" cmpd="sng" algn="ctr">
                      <a:solidFill>
                        <a:srgbClr val="BEC1C4"/>
                      </a:solidFill>
                      <a:prstDash val="solid"/>
                      <a:round/>
                      <a:headEnd type="none" w="med" len="med"/>
                      <a:tailEnd type="none" w="med" len="med"/>
                    </a:lnL>
                    <a:lnR w="6350" cap="flat" cmpd="sng" algn="ctr">
                      <a:solidFill>
                        <a:srgbClr val="BEC1C4"/>
                      </a:solid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s-ES" sz="1300" dirty="0">
                          <a:latin typeface="+mn-lt"/>
                        </a:rPr>
                        <a:t>Ayudar con la presentación de reclamos si es necesario
</a:t>
                      </a:r>
                      <a:endParaRPr lang="en-US" sz="1300" dirty="0">
                        <a:latin typeface="+mn-lt"/>
                      </a:endParaRPr>
                    </a:p>
                  </a:txBody>
                  <a:tcPr marL="121888" marR="121888" marT="60944" marB="60944" anchor="ctr">
                    <a:lnL w="6350" cap="flat" cmpd="sng" algn="ctr">
                      <a:solidFill>
                        <a:srgbClr val="BEC1C4"/>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C1C4"/>
                      </a:solidFill>
                      <a:prstDash val="solid"/>
                      <a:round/>
                      <a:headEnd type="none" w="med" len="med"/>
                      <a:tailEnd type="none" w="med" len="med"/>
                    </a:lnT>
                    <a:lnB w="6350" cap="flat" cmpd="sng" algn="ctr">
                      <a:solidFill>
                        <a:srgbClr val="BEC1C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7339964"/>
                  </a:ext>
                </a:extLst>
              </a:tr>
            </a:tbl>
          </a:graphicData>
        </a:graphic>
      </p:graphicFrame>
      <p:sp>
        <p:nvSpPr>
          <p:cNvPr id="17" name="TextBox 16">
            <a:extLst>
              <a:ext uri="{FF2B5EF4-FFF2-40B4-BE49-F238E27FC236}">
                <a16:creationId xmlns:a16="http://schemas.microsoft.com/office/drawing/2014/main" id="{25100005-30B3-AC4B-B281-E9055B15ABA5}"/>
              </a:ext>
            </a:extLst>
          </p:cNvPr>
          <p:cNvSpPr txBox="1"/>
          <p:nvPr/>
        </p:nvSpPr>
        <p:spPr>
          <a:xfrm>
            <a:off x="691475" y="4669227"/>
            <a:ext cx="6209070" cy="369332"/>
          </a:xfrm>
          <a:prstGeom prst="rect">
            <a:avLst/>
          </a:prstGeom>
          <a:noFill/>
        </p:spPr>
        <p:txBody>
          <a:bodyPr wrap="square">
            <a:spAutoFit/>
          </a:bodyPr>
          <a:lstStyle/>
          <a:p>
            <a:pPr defTabSz="1218987">
              <a:defRPr/>
            </a:pPr>
            <a:r>
              <a:rPr lang="es-ES" dirty="0">
                <a:solidFill>
                  <a:srgbClr val="00A6CA"/>
                </a:solidFill>
              </a:rPr>
              <a:t>Algunas de las formas en que nuestros expertos ayudan</a:t>
            </a:r>
            <a:r>
              <a:rPr lang="en-US" dirty="0">
                <a:solidFill>
                  <a:srgbClr val="00A6CA"/>
                </a:solidFill>
                <a:latin typeface="Arial"/>
              </a:rPr>
              <a:t>: </a:t>
            </a:r>
          </a:p>
        </p:txBody>
      </p:sp>
      <p:sp>
        <p:nvSpPr>
          <p:cNvPr id="4" name="TextBox 3"/>
          <p:cNvSpPr txBox="1"/>
          <p:nvPr/>
        </p:nvSpPr>
        <p:spPr>
          <a:xfrm>
            <a:off x="1589" y="1"/>
            <a:ext cx="3545059" cy="307777"/>
          </a:xfrm>
          <a:prstGeom prst="rect">
            <a:avLst/>
          </a:prstGeom>
          <a:solidFill>
            <a:schemeClr val="accent1"/>
          </a:solidFill>
        </p:spPr>
        <p:txBody>
          <a:bodyPr wrap="square" rtlCol="0">
            <a:spAutoFit/>
          </a:bodyPr>
          <a:lstStyle/>
          <a:p>
            <a:pPr algn="ctr" defTabSz="1218987"/>
            <a:r>
              <a:rPr lang="en-US" sz="1400" b="1" dirty="0">
                <a:solidFill>
                  <a:srgbClr val="FFFFFF"/>
                </a:solidFill>
                <a:latin typeface="Arial"/>
              </a:rPr>
              <a:t>Personal &amp; Commercial cyber services</a:t>
            </a:r>
          </a:p>
        </p:txBody>
      </p:sp>
      <p:sp>
        <p:nvSpPr>
          <p:cNvPr id="13" name="TextBox 12"/>
          <p:cNvSpPr txBox="1"/>
          <p:nvPr/>
        </p:nvSpPr>
        <p:spPr>
          <a:xfrm>
            <a:off x="4730417" y="6453248"/>
            <a:ext cx="2731169" cy="261610"/>
          </a:xfrm>
          <a:prstGeom prst="rect">
            <a:avLst/>
          </a:prstGeom>
          <a:noFill/>
        </p:spPr>
        <p:txBody>
          <a:bodyPr wrap="square" rtlCol="0" anchor="ctr">
            <a:spAutoFit/>
          </a:bodyPr>
          <a:lstStyle/>
          <a:p>
            <a:pPr algn="ctr" defTabSz="1218987"/>
            <a:r>
              <a:rPr lang="en-US" sz="1100" dirty="0">
                <a:solidFill>
                  <a:srgbClr val="000000"/>
                </a:solidFill>
                <a:latin typeface="Arial"/>
              </a:rPr>
              <a:t>Confidential | Internal use only</a:t>
            </a:r>
          </a:p>
        </p:txBody>
      </p:sp>
    </p:spTree>
    <p:extLst>
      <p:ext uri="{BB962C8B-B14F-4D97-AF65-F5344CB8AC3E}">
        <p14:creationId xmlns:p14="http://schemas.microsoft.com/office/powerpoint/2010/main" val="3032848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B64B9-6F1D-4243-84FD-685D9D95DD4E}"/>
              </a:ext>
            </a:extLst>
          </p:cNvPr>
          <p:cNvSpPr>
            <a:spLocks noGrp="1"/>
          </p:cNvSpPr>
          <p:nvPr>
            <p:ph type="title"/>
          </p:nvPr>
        </p:nvSpPr>
        <p:spPr>
          <a:xfrm>
            <a:off x="1859803" y="607824"/>
            <a:ext cx="7772400" cy="661988"/>
          </a:xfrm>
        </p:spPr>
        <p:txBody>
          <a:bodyPr/>
          <a:lstStyle/>
          <a:p>
            <a:r>
              <a:rPr lang="es-ES" sz="4400" dirty="0"/>
              <a:t>Tipos de pérdida de reclamos cibernéticos
</a:t>
            </a:r>
            <a:endParaRPr lang="en-GB" sz="4400" dirty="0"/>
          </a:p>
        </p:txBody>
      </p:sp>
      <p:sp>
        <p:nvSpPr>
          <p:cNvPr id="3" name="Text Placeholder 2">
            <a:extLst>
              <a:ext uri="{FF2B5EF4-FFF2-40B4-BE49-F238E27FC236}">
                <a16:creationId xmlns:a16="http://schemas.microsoft.com/office/drawing/2014/main" id="{17E4D4FF-F526-4072-840E-08976B2C5605}"/>
              </a:ext>
            </a:extLst>
          </p:cNvPr>
          <p:cNvSpPr>
            <a:spLocks noGrp="1"/>
          </p:cNvSpPr>
          <p:nvPr>
            <p:ph type="body" idx="1"/>
          </p:nvPr>
        </p:nvSpPr>
        <p:spPr>
          <a:xfrm>
            <a:off x="1728553" y="1638184"/>
            <a:ext cx="6586212" cy="1500187"/>
          </a:xfrm>
        </p:spPr>
        <p:txBody>
          <a:bodyPr/>
          <a:lstStyle/>
          <a:p>
            <a:pPr marL="342900" indent="-342900">
              <a:buFont typeface="Arial" panose="020B0604020202020204" pitchFamily="34" charset="0"/>
              <a:buChar char="•"/>
            </a:pPr>
            <a:endParaRPr lang="en-GB" sz="160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GB" dirty="0"/>
          </a:p>
        </p:txBody>
      </p:sp>
      <p:graphicFrame>
        <p:nvGraphicFramePr>
          <p:cNvPr id="5" name="Chart 4">
            <a:extLst>
              <a:ext uri="{FF2B5EF4-FFF2-40B4-BE49-F238E27FC236}">
                <a16:creationId xmlns:a16="http://schemas.microsoft.com/office/drawing/2014/main" id="{62CAC1FC-0744-814A-97CB-11623C8D488C}"/>
              </a:ext>
            </a:extLst>
          </p:cNvPr>
          <p:cNvGraphicFramePr>
            <a:graphicFrameLocks/>
          </p:cNvGraphicFramePr>
          <p:nvPr>
            <p:extLst>
              <p:ext uri="{D42A27DB-BD31-4B8C-83A1-F6EECF244321}">
                <p14:modId xmlns:p14="http://schemas.microsoft.com/office/powerpoint/2010/main" val="2718221001"/>
              </p:ext>
            </p:extLst>
          </p:nvPr>
        </p:nvGraphicFramePr>
        <p:xfrm>
          <a:off x="1524000" y="1963197"/>
          <a:ext cx="9144000" cy="42479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594941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B64B9-6F1D-4243-84FD-685D9D95DD4E}"/>
              </a:ext>
            </a:extLst>
          </p:cNvPr>
          <p:cNvSpPr>
            <a:spLocks noGrp="1"/>
          </p:cNvSpPr>
          <p:nvPr>
            <p:ph type="title"/>
          </p:nvPr>
        </p:nvSpPr>
        <p:spPr>
          <a:xfrm>
            <a:off x="990600" y="469211"/>
            <a:ext cx="8624421" cy="661988"/>
          </a:xfrm>
        </p:spPr>
        <p:txBody>
          <a:bodyPr/>
          <a:lstStyle/>
          <a:p>
            <a:r>
              <a:rPr lang="en-GB" dirty="0" err="1"/>
              <a:t>Desglose</a:t>
            </a:r>
            <a:r>
              <a:rPr lang="en-GB" dirty="0"/>
              <a:t> de </a:t>
            </a:r>
            <a:r>
              <a:rPr lang="en-GB" dirty="0" err="1"/>
              <a:t>pagos</a:t>
            </a:r>
            <a:r>
              <a:rPr lang="en-GB" dirty="0"/>
              <a:t> de </a:t>
            </a:r>
            <a:r>
              <a:rPr lang="en-GB" dirty="0" err="1"/>
              <a:t>reclamos</a:t>
            </a:r>
            <a:r>
              <a:rPr lang="en-GB" dirty="0"/>
              <a:t> </a:t>
            </a:r>
            <a:r>
              <a:rPr lang="en-GB" dirty="0" err="1"/>
              <a:t>cibernéticos</a:t>
            </a:r>
            <a:r>
              <a:rPr lang="en-GB" dirty="0"/>
              <a:t>
</a:t>
            </a:r>
          </a:p>
        </p:txBody>
      </p:sp>
      <p:sp>
        <p:nvSpPr>
          <p:cNvPr id="3" name="Text Placeholder 2">
            <a:extLst>
              <a:ext uri="{FF2B5EF4-FFF2-40B4-BE49-F238E27FC236}">
                <a16:creationId xmlns:a16="http://schemas.microsoft.com/office/drawing/2014/main" id="{17E4D4FF-F526-4072-840E-08976B2C5605}"/>
              </a:ext>
            </a:extLst>
          </p:cNvPr>
          <p:cNvSpPr>
            <a:spLocks noGrp="1"/>
          </p:cNvSpPr>
          <p:nvPr>
            <p:ph type="body" idx="1"/>
          </p:nvPr>
        </p:nvSpPr>
        <p:spPr>
          <a:xfrm>
            <a:off x="1728553" y="1638184"/>
            <a:ext cx="6586212" cy="1500187"/>
          </a:xfrm>
        </p:spPr>
        <p:txBody>
          <a:bodyPr/>
          <a:lstStyle/>
          <a:p>
            <a:pPr marL="342900" indent="-342900">
              <a:buFont typeface="Arial" panose="020B0604020202020204" pitchFamily="34" charset="0"/>
              <a:buChar char="•"/>
            </a:pPr>
            <a:endParaRPr lang="en-GB" sz="16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GB" dirty="0"/>
          </a:p>
        </p:txBody>
      </p:sp>
      <p:graphicFrame>
        <p:nvGraphicFramePr>
          <p:cNvPr id="4" name="Content Placeholder 6">
            <a:extLst>
              <a:ext uri="{FF2B5EF4-FFF2-40B4-BE49-F238E27FC236}">
                <a16:creationId xmlns:a16="http://schemas.microsoft.com/office/drawing/2014/main" id="{6C53E84B-32BF-7B42-BBAB-FB2B82B588E4}"/>
              </a:ext>
            </a:extLst>
          </p:cNvPr>
          <p:cNvGraphicFramePr>
            <a:graphicFrameLocks/>
          </p:cNvGraphicFramePr>
          <p:nvPr>
            <p:extLst>
              <p:ext uri="{D42A27DB-BD31-4B8C-83A1-F6EECF244321}">
                <p14:modId xmlns:p14="http://schemas.microsoft.com/office/powerpoint/2010/main" val="193230830"/>
              </p:ext>
            </p:extLst>
          </p:nvPr>
        </p:nvGraphicFramePr>
        <p:xfrm>
          <a:off x="990600" y="1498335"/>
          <a:ext cx="9144000" cy="52198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94054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B64B9-6F1D-4243-84FD-685D9D95DD4E}"/>
              </a:ext>
            </a:extLst>
          </p:cNvPr>
          <p:cNvSpPr>
            <a:spLocks noGrp="1"/>
          </p:cNvSpPr>
          <p:nvPr>
            <p:ph type="title"/>
          </p:nvPr>
        </p:nvSpPr>
        <p:spPr>
          <a:xfrm>
            <a:off x="622300" y="536994"/>
            <a:ext cx="10490200" cy="661988"/>
          </a:xfrm>
        </p:spPr>
        <p:txBody>
          <a:bodyPr/>
          <a:lstStyle/>
          <a:p>
            <a:r>
              <a:rPr lang="es-ES" sz="3600" dirty="0"/>
              <a:t>Foto de las reclamaciones cibernéticas comerciales de las pymes
</a:t>
            </a:r>
            <a:endParaRPr lang="en-GB" sz="3600" dirty="0"/>
          </a:p>
        </p:txBody>
      </p:sp>
      <p:sp>
        <p:nvSpPr>
          <p:cNvPr id="3" name="Text Placeholder 2">
            <a:extLst>
              <a:ext uri="{FF2B5EF4-FFF2-40B4-BE49-F238E27FC236}">
                <a16:creationId xmlns:a16="http://schemas.microsoft.com/office/drawing/2014/main" id="{17E4D4FF-F526-4072-840E-08976B2C5605}"/>
              </a:ext>
            </a:extLst>
          </p:cNvPr>
          <p:cNvSpPr>
            <a:spLocks noGrp="1"/>
          </p:cNvSpPr>
          <p:nvPr>
            <p:ph type="body" idx="1"/>
          </p:nvPr>
        </p:nvSpPr>
        <p:spPr>
          <a:xfrm>
            <a:off x="1233252" y="1547113"/>
            <a:ext cx="8199860" cy="1500187"/>
          </a:xfrm>
        </p:spPr>
        <p:txBody>
          <a:bodyPr/>
          <a:lstStyle/>
          <a:p>
            <a:pPr marL="342900" indent="-342900">
              <a:buFont typeface="Arial" panose="020B0604020202020204" pitchFamily="34" charset="0"/>
              <a:buChar char="•"/>
            </a:pPr>
            <a:endParaRPr lang="en-GB" sz="26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s-ES" sz="3000" b="1" dirty="0">
                <a:ea typeface="Calibri" panose="020F0502020204030204" pitchFamily="34" charset="0"/>
              </a:rPr>
              <a:t>53%: </a:t>
            </a:r>
            <a:r>
              <a:rPr lang="es-ES" sz="3000" dirty="0">
                <a:ea typeface="Calibri" panose="020F0502020204030204" pitchFamily="34" charset="0"/>
              </a:rPr>
              <a:t>Porcentaje de casos cerrados sin pago
USD </a:t>
            </a:r>
            <a:r>
              <a:rPr lang="es-ES" sz="3000" b="1" dirty="0">
                <a:ea typeface="Calibri" panose="020F0502020204030204" pitchFamily="34" charset="0"/>
              </a:rPr>
              <a:t>11,879: </a:t>
            </a:r>
            <a:r>
              <a:rPr lang="es-ES" sz="3000" dirty="0">
                <a:ea typeface="Calibri" panose="020F0502020204030204" pitchFamily="34" charset="0"/>
              </a:rPr>
              <a:t>Coste medio por siniestro con pagos
USD </a:t>
            </a:r>
            <a:r>
              <a:rPr lang="es-ES" sz="3000" b="1" dirty="0">
                <a:ea typeface="Calibri" panose="020F0502020204030204" pitchFamily="34" charset="0"/>
              </a:rPr>
              <a:t>5,670</a:t>
            </a:r>
            <a:r>
              <a:rPr lang="es-ES" sz="3000" dirty="0">
                <a:ea typeface="Calibri" panose="020F0502020204030204" pitchFamily="34" charset="0"/>
              </a:rPr>
              <a:t>: Reclamación media pagada incluyendo cerrado sin pagos
</a:t>
            </a:r>
            <a:r>
              <a:rPr lang="es-ES" sz="3000" dirty="0" err="1">
                <a:ea typeface="Calibri" panose="020F0502020204030204" pitchFamily="34" charset="0"/>
              </a:rPr>
              <a:t>System</a:t>
            </a:r>
            <a:r>
              <a:rPr lang="es-ES" sz="3000" dirty="0">
                <a:ea typeface="Calibri" panose="020F0502020204030204" pitchFamily="34" charset="0"/>
              </a:rPr>
              <a:t> </a:t>
            </a:r>
            <a:r>
              <a:rPr lang="es-ES" sz="3000" dirty="0" err="1">
                <a:ea typeface="Calibri" panose="020F0502020204030204" pitchFamily="34" charset="0"/>
              </a:rPr>
              <a:t>Hacks</a:t>
            </a:r>
            <a:r>
              <a:rPr lang="es-ES" sz="3000" dirty="0">
                <a:ea typeface="Calibri" panose="020F0502020204030204" pitchFamily="34" charset="0"/>
              </a:rPr>
              <a:t>, </a:t>
            </a:r>
            <a:r>
              <a:rPr lang="es-ES" sz="3000" dirty="0" err="1">
                <a:ea typeface="Calibri" panose="020F0502020204030204" pitchFamily="34" charset="0"/>
              </a:rPr>
              <a:t>Ransomware</a:t>
            </a:r>
            <a:r>
              <a:rPr lang="es-ES" sz="3000" dirty="0">
                <a:ea typeface="Calibri" panose="020F0502020204030204" pitchFamily="34" charset="0"/>
              </a:rPr>
              <a:t> &amp; Social </a:t>
            </a:r>
            <a:r>
              <a:rPr lang="es-ES" sz="3000" dirty="0" err="1">
                <a:ea typeface="Calibri" panose="020F0502020204030204" pitchFamily="34" charset="0"/>
              </a:rPr>
              <a:t>Engineering</a:t>
            </a:r>
            <a:r>
              <a:rPr lang="es-ES" sz="3000" dirty="0">
                <a:ea typeface="Calibri" panose="020F0502020204030204" pitchFamily="34" charset="0"/>
              </a:rPr>
              <a:t> Top 3 Tipos de Reclamaciones</a:t>
            </a:r>
            <a:endParaRPr lang="en-US" dirty="0">
              <a:latin typeface="Calibri" panose="020F0502020204030204" pitchFamily="34" charset="0"/>
              <a:ea typeface="Calibri" panose="020F0502020204030204" pitchFamily="34" charset="0"/>
            </a:endParaRP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3839149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B64B9-6F1D-4243-84FD-685D9D95DD4E}"/>
              </a:ext>
            </a:extLst>
          </p:cNvPr>
          <p:cNvSpPr>
            <a:spLocks noGrp="1"/>
          </p:cNvSpPr>
          <p:nvPr>
            <p:ph type="title"/>
          </p:nvPr>
        </p:nvSpPr>
        <p:spPr>
          <a:xfrm>
            <a:off x="966552" y="608713"/>
            <a:ext cx="8990248" cy="661988"/>
          </a:xfrm>
        </p:spPr>
        <p:txBody>
          <a:bodyPr/>
          <a:lstStyle/>
          <a:p>
            <a:r>
              <a:rPr lang="en-GB" sz="3600" dirty="0" err="1"/>
              <a:t>Foto</a:t>
            </a:r>
            <a:r>
              <a:rPr lang="en-GB" sz="3600" dirty="0"/>
              <a:t> de </a:t>
            </a:r>
            <a:r>
              <a:rPr lang="en-GB" sz="3600" dirty="0" err="1"/>
              <a:t>reclamos</a:t>
            </a:r>
            <a:r>
              <a:rPr lang="en-GB" sz="3600" dirty="0"/>
              <a:t> </a:t>
            </a:r>
            <a:r>
              <a:rPr lang="en-GB" sz="3600" dirty="0" err="1"/>
              <a:t>cibernéticos</a:t>
            </a:r>
            <a:r>
              <a:rPr lang="en-GB" sz="3600" dirty="0"/>
              <a:t> </a:t>
            </a:r>
            <a:r>
              <a:rPr lang="en-GB" sz="3600" dirty="0" err="1"/>
              <a:t>personales</a:t>
            </a:r>
            <a:br>
              <a:rPr lang="en-GB" sz="3600" dirty="0"/>
            </a:br>
            <a:endParaRPr lang="en-GB" sz="3600" dirty="0"/>
          </a:p>
        </p:txBody>
      </p:sp>
      <p:sp>
        <p:nvSpPr>
          <p:cNvPr id="3" name="Text Placeholder 2">
            <a:extLst>
              <a:ext uri="{FF2B5EF4-FFF2-40B4-BE49-F238E27FC236}">
                <a16:creationId xmlns:a16="http://schemas.microsoft.com/office/drawing/2014/main" id="{17E4D4FF-F526-4072-840E-08976B2C5605}"/>
              </a:ext>
            </a:extLst>
          </p:cNvPr>
          <p:cNvSpPr>
            <a:spLocks noGrp="1"/>
          </p:cNvSpPr>
          <p:nvPr>
            <p:ph type="body" idx="1"/>
          </p:nvPr>
        </p:nvSpPr>
        <p:spPr>
          <a:xfrm>
            <a:off x="574346" y="1359601"/>
            <a:ext cx="8493454" cy="1500187"/>
          </a:xfrm>
        </p:spPr>
        <p:txBody>
          <a:bodyPr/>
          <a:lstStyle/>
          <a:p>
            <a:pPr marL="342900" indent="-342900">
              <a:buFont typeface="Arial" panose="020B0604020202020204" pitchFamily="34" charset="0"/>
              <a:buChar char="•"/>
            </a:pPr>
            <a:endParaRPr lang="en-GB" sz="2600"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s-ES" sz="3000" b="1" dirty="0"/>
              <a:t>El 92% </a:t>
            </a:r>
            <a:r>
              <a:rPr lang="es-ES" sz="3000" dirty="0"/>
              <a:t>de todos los asuntos son resueltos sin la necesidad de que se registre un reclamo o reserva real
</a:t>
            </a:r>
            <a:r>
              <a:rPr lang="es-ES" sz="3000" b="1" dirty="0"/>
              <a:t>USD 2,759: </a:t>
            </a:r>
            <a:r>
              <a:rPr lang="es-ES" sz="3000" dirty="0"/>
              <a:t>Coste medio de la reclamación pagada 
</a:t>
            </a:r>
            <a:r>
              <a:rPr lang="es-ES" sz="3000" b="1" dirty="0"/>
              <a:t>USD</a:t>
            </a:r>
            <a:r>
              <a:rPr lang="es-ES" sz="3000" dirty="0"/>
              <a:t> </a:t>
            </a:r>
            <a:r>
              <a:rPr lang="es-ES" sz="3000" b="1" dirty="0"/>
              <a:t>291: </a:t>
            </a:r>
            <a:r>
              <a:rPr lang="es-ES" sz="3000" dirty="0"/>
              <a:t>Reclamaciones pagadas promedio, incluidas las </a:t>
            </a:r>
            <a:r>
              <a:rPr lang="es-ES" sz="3000" dirty="0" err="1"/>
              <a:t>cloncluidas</a:t>
            </a:r>
            <a:r>
              <a:rPr lang="es-ES" sz="3000" dirty="0"/>
              <a:t> sin pago
La Ingeniería Social representó el </a:t>
            </a:r>
            <a:r>
              <a:rPr lang="es-ES" sz="3000" b="1" dirty="0"/>
              <a:t>95%</a:t>
            </a:r>
            <a:r>
              <a:rPr lang="es-ES" sz="3000" dirty="0"/>
              <a:t> de todos los reembolsos de reclamaciones en los últimos dos años</a:t>
            </a:r>
            <a:endParaRPr lang="en-US" sz="2800" dirty="0">
              <a:ea typeface="Calibri" panose="020F0502020204030204" pitchFamily="34" charset="0"/>
            </a:endParaRPr>
          </a:p>
          <a:p>
            <a:endParaRPr lang="en-US" sz="2800" dirty="0">
              <a:ea typeface="Calibri" panose="020F0502020204030204" pitchFamily="34" charset="0"/>
            </a:endParaRPr>
          </a:p>
          <a:p>
            <a:pPr marL="342900" indent="-342900">
              <a:buFont typeface="Arial" panose="020B0604020202020204" pitchFamily="34" charset="0"/>
              <a:buChar char="•"/>
            </a:pPr>
            <a:endParaRPr lang="en-US" sz="2600" b="1" dirty="0">
              <a:ea typeface="Calibri" panose="020F0502020204030204" pitchFamily="34" charset="0"/>
            </a:endParaRPr>
          </a:p>
          <a:p>
            <a:endParaRPr lang="en-US" dirty="0">
              <a:latin typeface="Calibri" panose="020F0502020204030204" pitchFamily="34" charset="0"/>
              <a:ea typeface="Calibri" panose="020F0502020204030204" pitchFamily="34" charset="0"/>
            </a:endParaRP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3599474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CC6B874-B313-337C-1A50-D0125000A41F}"/>
              </a:ext>
            </a:extLst>
          </p:cNvPr>
          <p:cNvSpPr txBox="1"/>
          <p:nvPr/>
        </p:nvSpPr>
        <p:spPr>
          <a:xfrm>
            <a:off x="672029" y="572878"/>
            <a:ext cx="4880472" cy="5262979"/>
          </a:xfrm>
          <a:prstGeom prst="rect">
            <a:avLst/>
          </a:prstGeom>
          <a:noFill/>
        </p:spPr>
        <p:txBody>
          <a:bodyPr wrap="square" rtlCol="0">
            <a:spAutoFit/>
          </a:bodyPr>
          <a:lstStyle/>
          <a:p>
            <a:r>
              <a:rPr lang="es-MX" sz="2800" b="1" dirty="0"/>
              <a:t>¿QUE OPINAN?</a:t>
            </a:r>
          </a:p>
          <a:p>
            <a:endParaRPr lang="es-MX" sz="2800" dirty="0"/>
          </a:p>
          <a:p>
            <a:r>
              <a:rPr lang="es-ES" sz="2800" dirty="0"/>
              <a:t>¿Cuál de los siguientes riesgos es la amenaza más latente para el crecimiento de una empresa en los próximos 3 años de acuerdo con un estudio realizado por KPMG en 2021?</a:t>
            </a:r>
          </a:p>
          <a:p>
            <a:endParaRPr lang="es-MX" sz="2800" dirty="0"/>
          </a:p>
          <a:p>
            <a:pPr marL="342900" indent="-342900">
              <a:buAutoNum type="alphaUcPeriod"/>
            </a:pPr>
            <a:r>
              <a:rPr lang="es-MX" sz="2800" b="1" dirty="0"/>
              <a:t>Riesgos Fiscales</a:t>
            </a:r>
          </a:p>
          <a:p>
            <a:pPr marL="342900" indent="-342900">
              <a:buAutoNum type="alphaUcPeriod"/>
            </a:pPr>
            <a:r>
              <a:rPr lang="es-MX" sz="2800" b="1" dirty="0"/>
              <a:t>Riesgos Cibernéticos </a:t>
            </a:r>
          </a:p>
          <a:p>
            <a:pPr marL="342900" indent="-342900">
              <a:buAutoNum type="alphaUcPeriod"/>
            </a:pPr>
            <a:r>
              <a:rPr lang="es-MX" sz="2800" b="1" dirty="0"/>
              <a:t>Riesgos Regulatorios </a:t>
            </a:r>
          </a:p>
        </p:txBody>
      </p:sp>
      <p:pic>
        <p:nvPicPr>
          <p:cNvPr id="6" name="Picture 5" descr="A finger pointing on a tablet with green neon lights">
            <a:extLst>
              <a:ext uri="{FF2B5EF4-FFF2-40B4-BE49-F238E27FC236}">
                <a16:creationId xmlns:a16="http://schemas.microsoft.com/office/drawing/2014/main" id="{2C1AFF47-58B3-35C8-05F6-628B681FA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52501" y="272503"/>
            <a:ext cx="6375094" cy="5720673"/>
          </a:xfrm>
          <a:prstGeom prst="rect">
            <a:avLst/>
          </a:prstGeom>
        </p:spPr>
      </p:pic>
    </p:spTree>
    <p:extLst>
      <p:ext uri="{BB962C8B-B14F-4D97-AF65-F5344CB8AC3E}">
        <p14:creationId xmlns:p14="http://schemas.microsoft.com/office/powerpoint/2010/main" val="28429311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316224" y="2119438"/>
            <a:ext cx="9559553" cy="2051806"/>
            <a:chOff x="2079106" y="3342552"/>
            <a:chExt cx="7656771" cy="2051806"/>
          </a:xfrm>
          <a:solidFill>
            <a:schemeClr val="bg1">
              <a:lumMod val="75000"/>
            </a:schemeClr>
          </a:solidFill>
          <a:effectLst>
            <a:outerShdw blurRad="50800" dist="38100" dir="2700000" algn="tl" rotWithShape="0">
              <a:prstClr val="black">
                <a:alpha val="40000"/>
              </a:prstClr>
            </a:outerShdw>
          </a:effectLst>
        </p:grpSpPr>
        <p:sp>
          <p:nvSpPr>
            <p:cNvPr id="27" name="Oval 3"/>
            <p:cNvSpPr/>
            <p:nvPr/>
          </p:nvSpPr>
          <p:spPr>
            <a:xfrm>
              <a:off x="2079106" y="4807629"/>
              <a:ext cx="1631259" cy="576973"/>
            </a:xfrm>
            <a:custGeom>
              <a:avLst/>
              <a:gdLst/>
              <a:ahLst/>
              <a:cxnLst/>
              <a:rect l="l" t="t" r="r" b="b"/>
              <a:pathLst>
                <a:path w="1734584" h="637534">
                  <a:moveTo>
                    <a:pt x="1734584" y="0"/>
                  </a:moveTo>
                  <a:lnTo>
                    <a:pt x="1734584" y="637534"/>
                  </a:lnTo>
                  <a:lnTo>
                    <a:pt x="0" y="637534"/>
                  </a:lnTo>
                  <a:cubicBezTo>
                    <a:pt x="700763" y="419834"/>
                    <a:pt x="1276213" y="218559"/>
                    <a:pt x="1734584" y="0"/>
                  </a:cubicBezTo>
                  <a:close/>
                </a:path>
              </a:pathLst>
            </a:custGeom>
            <a:grp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0" name="Oval 3"/>
            <p:cNvSpPr/>
            <p:nvPr/>
          </p:nvSpPr>
          <p:spPr>
            <a:xfrm>
              <a:off x="3813690" y="3616782"/>
              <a:ext cx="933301" cy="1772731"/>
            </a:xfrm>
            <a:custGeom>
              <a:avLst/>
              <a:gdLst/>
              <a:ahLst/>
              <a:cxnLst/>
              <a:rect l="l" t="t" r="r" b="b"/>
              <a:pathLst>
                <a:path w="1371600" h="1993914">
                  <a:moveTo>
                    <a:pt x="1371600" y="0"/>
                  </a:moveTo>
                  <a:lnTo>
                    <a:pt x="1371600" y="1993914"/>
                  </a:lnTo>
                  <a:lnTo>
                    <a:pt x="0" y="1993914"/>
                  </a:lnTo>
                  <a:lnTo>
                    <a:pt x="0" y="1294414"/>
                  </a:lnTo>
                  <a:cubicBezTo>
                    <a:pt x="391261" y="1096142"/>
                    <a:pt x="689070" y="881131"/>
                    <a:pt x="899618" y="625725"/>
                  </a:cubicBezTo>
                  <a:cubicBezTo>
                    <a:pt x="1097609" y="385551"/>
                    <a:pt x="1222658" y="168218"/>
                    <a:pt x="1371600" y="0"/>
                  </a:cubicBezTo>
                  <a:close/>
                </a:path>
              </a:pathLst>
            </a:custGeom>
            <a:grp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1" name="Freeform 30"/>
            <p:cNvSpPr/>
            <p:nvPr/>
          </p:nvSpPr>
          <p:spPr>
            <a:xfrm>
              <a:off x="6079240" y="3342552"/>
              <a:ext cx="1144856" cy="2051806"/>
            </a:xfrm>
            <a:custGeom>
              <a:avLst/>
              <a:gdLst>
                <a:gd name="connsiteX0" fmla="*/ 41918 w 1144856"/>
                <a:gd name="connsiteY0" fmla="*/ 0 h 2149282"/>
                <a:gd name="connsiteX1" fmla="*/ 1144856 w 1144856"/>
                <a:gd name="connsiteY1" fmla="*/ 235096 h 2149282"/>
                <a:gd name="connsiteX2" fmla="*/ 1144856 w 1144856"/>
                <a:gd name="connsiteY2" fmla="*/ 2149282 h 2149282"/>
                <a:gd name="connsiteX3" fmla="*/ 0 w 1144856"/>
                <a:gd name="connsiteY3" fmla="*/ 2149282 h 2149282"/>
                <a:gd name="connsiteX4" fmla="*/ 0 w 1144856"/>
                <a:gd name="connsiteY4" fmla="*/ 569 h 2149282"/>
                <a:gd name="connsiteX5" fmla="*/ 41918 w 1144856"/>
                <a:gd name="connsiteY5" fmla="*/ 0 h 214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4856" h="2149282">
                  <a:moveTo>
                    <a:pt x="41918" y="0"/>
                  </a:moveTo>
                  <a:cubicBezTo>
                    <a:pt x="591987" y="2827"/>
                    <a:pt x="912389" y="97965"/>
                    <a:pt x="1144856" y="235096"/>
                  </a:cubicBezTo>
                  <a:lnTo>
                    <a:pt x="1144856" y="2149282"/>
                  </a:lnTo>
                  <a:lnTo>
                    <a:pt x="0" y="2149282"/>
                  </a:lnTo>
                  <a:lnTo>
                    <a:pt x="0" y="569"/>
                  </a:lnTo>
                  <a:lnTo>
                    <a:pt x="41918" y="0"/>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2" name="Freeform 31"/>
            <p:cNvSpPr/>
            <p:nvPr/>
          </p:nvSpPr>
          <p:spPr>
            <a:xfrm>
              <a:off x="4850316" y="3342552"/>
              <a:ext cx="1125599" cy="2046962"/>
            </a:xfrm>
            <a:custGeom>
              <a:avLst/>
              <a:gdLst>
                <a:gd name="connsiteX0" fmla="*/ 1125599 w 1125599"/>
                <a:gd name="connsiteY0" fmla="*/ 0 h 2148092"/>
                <a:gd name="connsiteX1" fmla="*/ 1125599 w 1125599"/>
                <a:gd name="connsiteY1" fmla="*/ 2148092 h 2148092"/>
                <a:gd name="connsiteX2" fmla="*/ 0 w 1125599"/>
                <a:gd name="connsiteY2" fmla="*/ 2148092 h 2148092"/>
                <a:gd name="connsiteX3" fmla="*/ 0 w 1125599"/>
                <a:gd name="connsiteY3" fmla="*/ 227121 h 2148092"/>
                <a:gd name="connsiteX4" fmla="*/ 996992 w 1125599"/>
                <a:gd name="connsiteY4" fmla="*/ 1746 h 2148092"/>
                <a:gd name="connsiteX5" fmla="*/ 1125599 w 1125599"/>
                <a:gd name="connsiteY5" fmla="*/ 0 h 214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5599" h="2148092">
                  <a:moveTo>
                    <a:pt x="1125599" y="0"/>
                  </a:moveTo>
                  <a:lnTo>
                    <a:pt x="1125599" y="2148092"/>
                  </a:lnTo>
                  <a:lnTo>
                    <a:pt x="0" y="2148092"/>
                  </a:lnTo>
                  <a:lnTo>
                    <a:pt x="0" y="227121"/>
                  </a:lnTo>
                  <a:cubicBezTo>
                    <a:pt x="228473" y="99649"/>
                    <a:pt x="519807" y="18056"/>
                    <a:pt x="996992" y="1746"/>
                  </a:cubicBezTo>
                  <a:lnTo>
                    <a:pt x="1125599" y="0"/>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3" name="Freeform 32"/>
            <p:cNvSpPr/>
            <p:nvPr/>
          </p:nvSpPr>
          <p:spPr>
            <a:xfrm flipH="1">
              <a:off x="7327421" y="3616781"/>
              <a:ext cx="2408456" cy="1772731"/>
            </a:xfrm>
            <a:custGeom>
              <a:avLst/>
              <a:gdLst>
                <a:gd name="connsiteX0" fmla="*/ 2408456 w 2408456"/>
                <a:gd name="connsiteY0" fmla="*/ 0 h 1744816"/>
                <a:gd name="connsiteX1" fmla="*/ 2113301 w 2408456"/>
                <a:gd name="connsiteY1" fmla="*/ 547554 h 1744816"/>
                <a:gd name="connsiteX2" fmla="*/ 1550722 w 2408456"/>
                <a:gd name="connsiteY2" fmla="*/ 1132704 h 1744816"/>
                <a:gd name="connsiteX3" fmla="*/ 1550722 w 2408456"/>
                <a:gd name="connsiteY3" fmla="*/ 1129943 h 1744816"/>
                <a:gd name="connsiteX4" fmla="*/ 0 w 2408456"/>
                <a:gd name="connsiteY4" fmla="*/ 1744816 h 1744816"/>
                <a:gd name="connsiteX5" fmla="*/ 1550722 w 2408456"/>
                <a:gd name="connsiteY5" fmla="*/ 1744816 h 1744816"/>
                <a:gd name="connsiteX6" fmla="*/ 2408456 w 2408456"/>
                <a:gd name="connsiteY6" fmla="*/ 1744816 h 1744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456" h="1744816">
                  <a:moveTo>
                    <a:pt x="2408456" y="0"/>
                  </a:moveTo>
                  <a:cubicBezTo>
                    <a:pt x="2315315" y="147203"/>
                    <a:pt x="2237115" y="337384"/>
                    <a:pt x="2113301" y="547554"/>
                  </a:cubicBezTo>
                  <a:cubicBezTo>
                    <a:pt x="1981634" y="771052"/>
                    <a:pt x="1795398" y="959202"/>
                    <a:pt x="1550722" y="1132704"/>
                  </a:cubicBezTo>
                  <a:lnTo>
                    <a:pt x="1550722" y="1129943"/>
                  </a:lnTo>
                  <a:cubicBezTo>
                    <a:pt x="1140937" y="1340734"/>
                    <a:pt x="626484" y="1534854"/>
                    <a:pt x="0" y="1744816"/>
                  </a:cubicBezTo>
                  <a:lnTo>
                    <a:pt x="1550722" y="1744816"/>
                  </a:lnTo>
                  <a:lnTo>
                    <a:pt x="2408456" y="1744816"/>
                  </a:lnTo>
                  <a:close/>
                </a:path>
              </a:pathLst>
            </a:custGeom>
            <a:grpFill/>
            <a:ln w="9525"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sp>
        <p:nvSpPr>
          <p:cNvPr id="34" name="TextBox 33"/>
          <p:cNvSpPr txBox="1"/>
          <p:nvPr/>
        </p:nvSpPr>
        <p:spPr>
          <a:xfrm>
            <a:off x="2044522" y="4038377"/>
            <a:ext cx="1290571" cy="830997"/>
          </a:xfrm>
          <a:prstGeom prst="rect">
            <a:avLst/>
          </a:prstGeom>
          <a:noFill/>
        </p:spPr>
        <p:txBody>
          <a:bodyPr wrap="square" lIns="91440" rtlCol="0" anchor="ctr">
            <a:spAutoFit/>
          </a:bodyPr>
          <a:lstStyle/>
          <a:p>
            <a:pPr algn="ctr"/>
            <a:r>
              <a:rPr lang="en-US" sz="1600" i="1" dirty="0" err="1">
                <a:solidFill>
                  <a:srgbClr val="000000"/>
                </a:solidFill>
                <a:latin typeface="Arial"/>
                <a:ea typeface="Kozuka Gothic Pro M" pitchFamily="34" charset="-128"/>
              </a:rPr>
              <a:t>Innovadores</a:t>
            </a:r>
            <a:r>
              <a:rPr lang="en-US" sz="1600" i="1" dirty="0">
                <a:solidFill>
                  <a:srgbClr val="000000"/>
                </a:solidFill>
                <a:latin typeface="Arial"/>
                <a:ea typeface="Kozuka Gothic Pro M" pitchFamily="34" charset="-128"/>
              </a:rPr>
              <a:t>
2.5%</a:t>
            </a:r>
          </a:p>
        </p:txBody>
      </p:sp>
      <p:sp>
        <p:nvSpPr>
          <p:cNvPr id="35" name="TextBox 34"/>
          <p:cNvSpPr txBox="1"/>
          <p:nvPr/>
        </p:nvSpPr>
        <p:spPr>
          <a:xfrm>
            <a:off x="3501774" y="4171244"/>
            <a:ext cx="1103514" cy="830997"/>
          </a:xfrm>
          <a:prstGeom prst="rect">
            <a:avLst/>
          </a:prstGeom>
          <a:noFill/>
        </p:spPr>
        <p:txBody>
          <a:bodyPr wrap="square" lIns="91440" rtlCol="0" anchor="ctr">
            <a:spAutoFit/>
          </a:bodyPr>
          <a:lstStyle/>
          <a:p>
            <a:pPr algn="ctr"/>
            <a:r>
              <a:rPr lang="en-US" sz="1600" i="1" dirty="0" err="1">
                <a:solidFill>
                  <a:srgbClr val="000000"/>
                </a:solidFill>
                <a:latin typeface="Arial"/>
                <a:ea typeface="Kozuka Gothic Pro M" pitchFamily="34" charset="-128"/>
              </a:rPr>
              <a:t>Primeros</a:t>
            </a:r>
            <a:r>
              <a:rPr lang="en-US" sz="1600" i="1" dirty="0">
                <a:solidFill>
                  <a:srgbClr val="000000"/>
                </a:solidFill>
                <a:latin typeface="Arial"/>
                <a:ea typeface="Kozuka Gothic Pro M" pitchFamily="34" charset="-128"/>
              </a:rPr>
              <a:t> </a:t>
            </a:r>
            <a:r>
              <a:rPr lang="en-US" sz="1600" i="1" dirty="0" err="1">
                <a:solidFill>
                  <a:srgbClr val="000000"/>
                </a:solidFill>
                <a:latin typeface="Arial"/>
                <a:ea typeface="Kozuka Gothic Pro M" pitchFamily="34" charset="-128"/>
              </a:rPr>
              <a:t>usuarios</a:t>
            </a:r>
            <a:r>
              <a:rPr lang="en-US" sz="1600" i="1" dirty="0">
                <a:solidFill>
                  <a:srgbClr val="000000"/>
                </a:solidFill>
                <a:latin typeface="Arial"/>
                <a:ea typeface="Kozuka Gothic Pro M" pitchFamily="34" charset="-128"/>
              </a:rPr>
              <a:t>
13.5%</a:t>
            </a:r>
          </a:p>
        </p:txBody>
      </p:sp>
      <p:sp>
        <p:nvSpPr>
          <p:cNvPr id="36" name="TextBox 35"/>
          <p:cNvSpPr txBox="1"/>
          <p:nvPr/>
        </p:nvSpPr>
        <p:spPr>
          <a:xfrm>
            <a:off x="4925389" y="4171243"/>
            <a:ext cx="1088152" cy="830997"/>
          </a:xfrm>
          <a:prstGeom prst="rect">
            <a:avLst/>
          </a:prstGeom>
          <a:noFill/>
        </p:spPr>
        <p:txBody>
          <a:bodyPr wrap="square" lIns="91440" rtlCol="0" anchor="ctr">
            <a:spAutoFit/>
          </a:bodyPr>
          <a:lstStyle/>
          <a:p>
            <a:pPr algn="ctr"/>
            <a:r>
              <a:rPr lang="en-US" sz="1600" i="1" dirty="0" err="1">
                <a:solidFill>
                  <a:srgbClr val="000000"/>
                </a:solidFill>
                <a:latin typeface="Arial"/>
                <a:ea typeface="Kozuka Gothic Pro M" pitchFamily="34" charset="-128"/>
              </a:rPr>
              <a:t>Mayoría</a:t>
            </a:r>
            <a:r>
              <a:rPr lang="en-US" sz="1600" i="1" dirty="0">
                <a:solidFill>
                  <a:srgbClr val="000000"/>
                </a:solidFill>
                <a:latin typeface="Arial"/>
                <a:ea typeface="Kozuka Gothic Pro M" pitchFamily="34" charset="-128"/>
              </a:rPr>
              <a:t> </a:t>
            </a:r>
            <a:r>
              <a:rPr lang="en-US" sz="1600" i="1" dirty="0" err="1">
                <a:solidFill>
                  <a:srgbClr val="000000"/>
                </a:solidFill>
                <a:latin typeface="Arial"/>
                <a:ea typeface="Kozuka Gothic Pro M" pitchFamily="34" charset="-128"/>
              </a:rPr>
              <a:t>temprana</a:t>
            </a:r>
            <a:r>
              <a:rPr lang="en-US" sz="1600" i="1" dirty="0">
                <a:solidFill>
                  <a:srgbClr val="000000"/>
                </a:solidFill>
                <a:latin typeface="Arial"/>
                <a:ea typeface="Kozuka Gothic Pro M" pitchFamily="34" charset="-128"/>
              </a:rPr>
              <a:t>
34%</a:t>
            </a:r>
          </a:p>
        </p:txBody>
      </p:sp>
      <p:sp>
        <p:nvSpPr>
          <p:cNvPr id="37" name="TextBox 36"/>
          <p:cNvSpPr txBox="1"/>
          <p:nvPr/>
        </p:nvSpPr>
        <p:spPr>
          <a:xfrm>
            <a:off x="6456483" y="4171242"/>
            <a:ext cx="1118653" cy="830997"/>
          </a:xfrm>
          <a:prstGeom prst="rect">
            <a:avLst/>
          </a:prstGeom>
          <a:noFill/>
        </p:spPr>
        <p:txBody>
          <a:bodyPr wrap="square" lIns="91440" rtlCol="0" anchor="ctr">
            <a:spAutoFit/>
          </a:bodyPr>
          <a:lstStyle/>
          <a:p>
            <a:pPr algn="ctr"/>
            <a:r>
              <a:rPr lang="en-US" sz="1600" i="1" dirty="0" err="1">
                <a:solidFill>
                  <a:srgbClr val="000000"/>
                </a:solidFill>
                <a:latin typeface="Arial"/>
                <a:ea typeface="Kozuka Gothic Pro M" pitchFamily="34" charset="-128"/>
              </a:rPr>
              <a:t>Mayoría</a:t>
            </a:r>
            <a:r>
              <a:rPr lang="en-US" sz="1600" i="1" dirty="0">
                <a:solidFill>
                  <a:srgbClr val="000000"/>
                </a:solidFill>
                <a:latin typeface="Arial"/>
                <a:ea typeface="Kozuka Gothic Pro M" pitchFamily="34" charset="-128"/>
              </a:rPr>
              <a:t> </a:t>
            </a:r>
            <a:r>
              <a:rPr lang="en-US" sz="1600" i="1" dirty="0" err="1">
                <a:solidFill>
                  <a:srgbClr val="000000"/>
                </a:solidFill>
                <a:latin typeface="Arial"/>
                <a:ea typeface="Kozuka Gothic Pro M" pitchFamily="34" charset="-128"/>
              </a:rPr>
              <a:t>tardía</a:t>
            </a:r>
            <a:r>
              <a:rPr lang="en-US" sz="1600" i="1" dirty="0">
                <a:solidFill>
                  <a:srgbClr val="000000"/>
                </a:solidFill>
                <a:latin typeface="Arial"/>
                <a:ea typeface="Kozuka Gothic Pro M" pitchFamily="34" charset="-128"/>
              </a:rPr>
              <a:t>
34%</a:t>
            </a:r>
          </a:p>
        </p:txBody>
      </p:sp>
      <p:sp>
        <p:nvSpPr>
          <p:cNvPr id="38" name="TextBox 37"/>
          <p:cNvSpPr txBox="1"/>
          <p:nvPr/>
        </p:nvSpPr>
        <p:spPr>
          <a:xfrm>
            <a:off x="7867965" y="4171242"/>
            <a:ext cx="1681208" cy="584775"/>
          </a:xfrm>
          <a:prstGeom prst="rect">
            <a:avLst/>
          </a:prstGeom>
          <a:noFill/>
        </p:spPr>
        <p:txBody>
          <a:bodyPr wrap="square" lIns="91440" rtlCol="0" anchor="ctr">
            <a:spAutoFit/>
          </a:bodyPr>
          <a:lstStyle/>
          <a:p>
            <a:pPr algn="ctr"/>
            <a:r>
              <a:rPr lang="en-US" sz="1600" i="1" dirty="0" err="1">
                <a:solidFill>
                  <a:srgbClr val="000000"/>
                </a:solidFill>
                <a:latin typeface="Arial"/>
                <a:ea typeface="Kozuka Gothic Pro M" pitchFamily="34" charset="-128"/>
              </a:rPr>
              <a:t>Rezagados</a:t>
            </a:r>
            <a:r>
              <a:rPr lang="en-US" sz="1600" i="1" dirty="0">
                <a:solidFill>
                  <a:srgbClr val="000000"/>
                </a:solidFill>
                <a:latin typeface="Arial"/>
                <a:ea typeface="Kozuka Gothic Pro M" pitchFamily="34" charset="-128"/>
              </a:rPr>
              <a:t>
16%</a:t>
            </a:r>
          </a:p>
        </p:txBody>
      </p:sp>
      <p:sp>
        <p:nvSpPr>
          <p:cNvPr id="46" name="TextBox 45"/>
          <p:cNvSpPr txBox="1"/>
          <p:nvPr/>
        </p:nvSpPr>
        <p:spPr>
          <a:xfrm>
            <a:off x="4476664" y="3191040"/>
            <a:ext cx="3667531" cy="923330"/>
          </a:xfrm>
          <a:prstGeom prst="rect">
            <a:avLst/>
          </a:prstGeom>
          <a:solidFill>
            <a:schemeClr val="bg1">
              <a:lumMod val="95000"/>
              <a:alpha val="47000"/>
            </a:schemeClr>
          </a:solidFill>
        </p:spPr>
        <p:txBody>
          <a:bodyPr wrap="square" rtlCol="0">
            <a:spAutoFit/>
          </a:bodyPr>
          <a:lstStyle/>
          <a:p>
            <a:pPr algn="ctr"/>
            <a:r>
              <a:rPr lang="es-ES" i="1" dirty="0">
                <a:latin typeface="Arial"/>
              </a:rPr>
              <a:t>Adopción de productos de seguros cibernéticos
</a:t>
            </a:r>
            <a:endParaRPr lang="en-US" i="1" dirty="0">
              <a:latin typeface="Arial"/>
            </a:endParaRPr>
          </a:p>
        </p:txBody>
      </p:sp>
      <p:sp>
        <p:nvSpPr>
          <p:cNvPr id="48" name="TextBox 47"/>
          <p:cNvSpPr txBox="1"/>
          <p:nvPr/>
        </p:nvSpPr>
        <p:spPr>
          <a:xfrm>
            <a:off x="6479242" y="1092086"/>
            <a:ext cx="1521790" cy="1323439"/>
          </a:xfrm>
          <a:prstGeom prst="rect">
            <a:avLst/>
          </a:prstGeom>
          <a:noFill/>
        </p:spPr>
        <p:txBody>
          <a:bodyPr wrap="square" rtlCol="0">
            <a:spAutoFit/>
          </a:bodyPr>
          <a:lstStyle/>
          <a:p>
            <a:r>
              <a:rPr lang="en-US" sz="1600" b="1" dirty="0">
                <a:solidFill>
                  <a:srgbClr val="00A6CA"/>
                </a:solidFill>
                <a:latin typeface="Arial"/>
              </a:rPr>
              <a:t>Linea </a:t>
            </a:r>
            <a:r>
              <a:rPr lang="en-US" sz="1600" b="1" dirty="0" err="1">
                <a:solidFill>
                  <a:srgbClr val="00A6CA"/>
                </a:solidFill>
                <a:latin typeface="Arial"/>
              </a:rPr>
              <a:t>Comercial</a:t>
            </a:r>
            <a:r>
              <a:rPr lang="en-US" sz="1600" b="1" dirty="0">
                <a:solidFill>
                  <a:srgbClr val="00A6CA"/>
                </a:solidFill>
                <a:latin typeface="Arial"/>
              </a:rPr>
              <a:t> Grandes </a:t>
            </a:r>
            <a:r>
              <a:rPr lang="en-US" sz="1600" b="1" dirty="0" err="1">
                <a:solidFill>
                  <a:srgbClr val="00A6CA"/>
                </a:solidFill>
                <a:latin typeface="Arial"/>
              </a:rPr>
              <a:t>Empresas</a:t>
            </a:r>
            <a:r>
              <a:rPr lang="en-US" sz="1600" b="1" dirty="0">
                <a:solidFill>
                  <a:srgbClr val="00A6CA"/>
                </a:solidFill>
                <a:latin typeface="Arial"/>
              </a:rPr>
              <a:t>
</a:t>
            </a:r>
          </a:p>
        </p:txBody>
      </p:sp>
      <p:sp>
        <p:nvSpPr>
          <p:cNvPr id="49" name="TextBox 48"/>
          <p:cNvSpPr txBox="1"/>
          <p:nvPr/>
        </p:nvSpPr>
        <p:spPr>
          <a:xfrm>
            <a:off x="2838048" y="2514878"/>
            <a:ext cx="1426752" cy="1077218"/>
          </a:xfrm>
          <a:prstGeom prst="rect">
            <a:avLst/>
          </a:prstGeom>
          <a:noFill/>
        </p:spPr>
        <p:txBody>
          <a:bodyPr wrap="square" rtlCol="0">
            <a:spAutoFit/>
          </a:bodyPr>
          <a:lstStyle/>
          <a:p>
            <a:r>
              <a:rPr lang="en-US" sz="1600" b="1" dirty="0" err="1">
                <a:solidFill>
                  <a:schemeClr val="accent4">
                    <a:lumMod val="75000"/>
                  </a:schemeClr>
                </a:solidFill>
                <a:latin typeface="Arial"/>
              </a:rPr>
              <a:t>Lineas</a:t>
            </a:r>
            <a:r>
              <a:rPr lang="en-US" sz="1600" b="1" dirty="0">
                <a:solidFill>
                  <a:schemeClr val="accent4">
                    <a:lumMod val="75000"/>
                  </a:schemeClr>
                </a:solidFill>
                <a:latin typeface="Arial"/>
              </a:rPr>
              <a:t> Commercial PYME
</a:t>
            </a:r>
          </a:p>
        </p:txBody>
      </p:sp>
      <p:sp>
        <p:nvSpPr>
          <p:cNvPr id="50" name="TextBox 49"/>
          <p:cNvSpPr txBox="1"/>
          <p:nvPr/>
        </p:nvSpPr>
        <p:spPr>
          <a:xfrm>
            <a:off x="2838048" y="1927680"/>
            <a:ext cx="1426752" cy="830997"/>
          </a:xfrm>
          <a:prstGeom prst="rect">
            <a:avLst/>
          </a:prstGeom>
          <a:noFill/>
        </p:spPr>
        <p:txBody>
          <a:bodyPr wrap="square" rtlCol="0">
            <a:spAutoFit/>
          </a:bodyPr>
          <a:lstStyle/>
          <a:p>
            <a:r>
              <a:rPr lang="en-US" sz="1600" b="1" dirty="0" err="1">
                <a:solidFill>
                  <a:srgbClr val="F17123"/>
                </a:solidFill>
                <a:latin typeface="Arial"/>
              </a:rPr>
              <a:t>Líneas</a:t>
            </a:r>
            <a:r>
              <a:rPr lang="en-US" sz="1600" b="1" dirty="0">
                <a:solidFill>
                  <a:srgbClr val="F17123"/>
                </a:solidFill>
                <a:latin typeface="Arial"/>
              </a:rPr>
              <a:t> </a:t>
            </a:r>
            <a:r>
              <a:rPr lang="en-US" sz="1600" b="1" dirty="0" err="1">
                <a:solidFill>
                  <a:srgbClr val="F17123"/>
                </a:solidFill>
                <a:latin typeface="Arial"/>
              </a:rPr>
              <a:t>personales</a:t>
            </a:r>
            <a:r>
              <a:rPr lang="en-US" sz="1600" b="1" dirty="0">
                <a:solidFill>
                  <a:srgbClr val="F17123"/>
                </a:solidFill>
                <a:latin typeface="Arial"/>
              </a:rPr>
              <a:t>
</a:t>
            </a:r>
          </a:p>
        </p:txBody>
      </p:sp>
      <p:sp>
        <p:nvSpPr>
          <p:cNvPr id="51" name="Oval 50"/>
          <p:cNvSpPr>
            <a:spLocks noChangeAspect="1"/>
          </p:cNvSpPr>
          <p:nvPr/>
        </p:nvSpPr>
        <p:spPr>
          <a:xfrm>
            <a:off x="6105421" y="1983685"/>
            <a:ext cx="274320" cy="274320"/>
          </a:xfrm>
          <a:prstGeom prst="ellipse">
            <a:avLst/>
          </a:prstGeom>
          <a:solidFill>
            <a:srgbClr val="00A6CA"/>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2" name="Oval 51"/>
          <p:cNvSpPr>
            <a:spLocks noChangeAspect="1"/>
          </p:cNvSpPr>
          <p:nvPr/>
        </p:nvSpPr>
        <p:spPr>
          <a:xfrm>
            <a:off x="3367473" y="3388140"/>
            <a:ext cx="274320" cy="274320"/>
          </a:xfrm>
          <a:prstGeom prst="ellipse">
            <a:avLst/>
          </a:prstGeom>
          <a:solidFill>
            <a:srgbClr val="FCD80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3" name="Oval 52"/>
          <p:cNvSpPr>
            <a:spLocks noChangeAspect="1"/>
          </p:cNvSpPr>
          <p:nvPr/>
        </p:nvSpPr>
        <p:spPr>
          <a:xfrm>
            <a:off x="3170476" y="3484151"/>
            <a:ext cx="274320" cy="274320"/>
          </a:xfrm>
          <a:prstGeom prst="ellipse">
            <a:avLst/>
          </a:prstGeom>
          <a:solidFill>
            <a:srgbClr val="F17123"/>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57" name="Rectangle 56"/>
          <p:cNvSpPr/>
          <p:nvPr/>
        </p:nvSpPr>
        <p:spPr>
          <a:xfrm>
            <a:off x="755137" y="179967"/>
            <a:ext cx="10700567" cy="1241365"/>
          </a:xfrm>
          <a:prstGeom prst="rect">
            <a:avLst/>
          </a:prstGeom>
          <a:noFill/>
          <a:effectLst>
            <a:outerShdw blurRad="63500" sx="102000" sy="102000" algn="ctr" rotWithShape="0">
              <a:prstClr val="black">
                <a:alpha val="40000"/>
              </a:prstClr>
            </a:outerShdw>
          </a:effectLst>
        </p:spPr>
        <p:txBody>
          <a:bodyPr wrap="square">
            <a:spAutoFit/>
          </a:bodyPr>
          <a:lstStyle/>
          <a:p>
            <a:pPr lvl="0" algn="ctr">
              <a:defRPr/>
            </a:pPr>
            <a:r>
              <a:rPr lang="es-ES" sz="2800" b="1" i="1" kern="0" dirty="0">
                <a:latin typeface="Arial" panose="020B0604020202020204" pitchFamily="34" charset="0"/>
                <a:cs typeface="Arial" panose="020B0604020202020204" pitchFamily="34" charset="0"/>
              </a:rPr>
              <a:t>Momento perfecto para implementar programas </a:t>
            </a:r>
            <a:r>
              <a:rPr lang="es-ES" sz="2800" b="1" i="1" kern="0" dirty="0" err="1">
                <a:latin typeface="Arial" panose="020B0604020202020204" pitchFamily="34" charset="0"/>
                <a:cs typeface="Arial" panose="020B0604020202020204" pitchFamily="34" charset="0"/>
              </a:rPr>
              <a:t>ciberneticos</a:t>
            </a:r>
            <a:r>
              <a:rPr lang="es-ES" sz="2800" b="1" i="1" kern="0" dirty="0">
                <a:latin typeface="Arial" panose="020B0604020202020204" pitchFamily="34" charset="0"/>
                <a:cs typeface="Arial" panose="020B0604020202020204" pitchFamily="34" charset="0"/>
              </a:rPr>
              <a:t> tanto para líneas personales y comerciales PYME
</a:t>
            </a:r>
            <a:endParaRPr kumimoji="0" lang="en-US" sz="2800" b="1" i="0" u="none" strike="noStrike" kern="0" cap="none" spc="0" normalizeH="0" baseline="30000" noProof="0" dirty="0">
              <a:ln>
                <a:noFill/>
              </a:ln>
              <a:effectLst/>
              <a:uLnTx/>
              <a:uFillTx/>
              <a:latin typeface="Arial" panose="020B0604020202020204" pitchFamily="34" charset="0"/>
              <a:cs typeface="Arial" panose="020B0604020202020204" pitchFamily="34" charset="0"/>
            </a:endParaRPr>
          </a:p>
        </p:txBody>
      </p:sp>
      <p:sp>
        <p:nvSpPr>
          <p:cNvPr id="41" name="TextBox 40"/>
          <p:cNvSpPr txBox="1"/>
          <p:nvPr/>
        </p:nvSpPr>
        <p:spPr>
          <a:xfrm>
            <a:off x="9808111" y="1390732"/>
            <a:ext cx="2335793" cy="3046988"/>
          </a:xfrm>
          <a:prstGeom prst="rect">
            <a:avLst/>
          </a:prstGeom>
          <a:noFill/>
        </p:spPr>
        <p:txBody>
          <a:bodyPr wrap="square" rtlCol="0">
            <a:spAutoFit/>
          </a:bodyPr>
          <a:lstStyle/>
          <a:p>
            <a:r>
              <a:rPr lang="es-ES" sz="1600" dirty="0">
                <a:solidFill>
                  <a:srgbClr val="000000"/>
                </a:solidFill>
                <a:latin typeface="Arial"/>
              </a:rPr>
              <a:t>Las condiciones actuales son primordiales para que las aseguradoras obtengan una ventaja significativa en el mercado mediante la introducción de soluciones cibernéticas en su base de clientes principales.
</a:t>
            </a:r>
            <a:endParaRPr lang="en-US" sz="1600" dirty="0">
              <a:solidFill>
                <a:srgbClr val="000000"/>
              </a:solidFill>
              <a:latin typeface="Arial"/>
            </a:endParaRPr>
          </a:p>
        </p:txBody>
      </p:sp>
      <p:sp>
        <p:nvSpPr>
          <p:cNvPr id="43" name="Rectangle 42"/>
          <p:cNvSpPr/>
          <p:nvPr/>
        </p:nvSpPr>
        <p:spPr>
          <a:xfrm>
            <a:off x="9141758" y="1497661"/>
            <a:ext cx="608002" cy="584775"/>
          </a:xfrm>
          <a:prstGeom prst="rect">
            <a:avLst/>
          </a:prstGeom>
          <a:solidFill>
            <a:srgbClr val="006B8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Shape 2605">
            <a:extLst>
              <a:ext uri="{FF2B5EF4-FFF2-40B4-BE49-F238E27FC236}">
                <a16:creationId xmlns:a16="http://schemas.microsoft.com/office/drawing/2014/main" id="{77DDDBBE-846C-284E-B47F-4A88D0A93CA3}"/>
              </a:ext>
            </a:extLst>
          </p:cNvPr>
          <p:cNvSpPr>
            <a:spLocks noChangeAspect="1"/>
          </p:cNvSpPr>
          <p:nvPr/>
        </p:nvSpPr>
        <p:spPr>
          <a:xfrm>
            <a:off x="9261121" y="1597175"/>
            <a:ext cx="385755" cy="385745"/>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1"/>
          </a:solidFill>
          <a:ln w="12700">
            <a:miter lim="400000"/>
          </a:ln>
        </p:spPr>
        <p:txBody>
          <a:bodyPr lIns="38090" tIns="38090" rIns="38090" bIns="38090" anchor="ctr"/>
          <a:lstStyle/>
          <a:p>
            <a:pPr marL="0" marR="0" lvl="0" indent="0" defTabSz="457063"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999" b="1"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Open Sans Semibold" charset="0"/>
              <a:ea typeface="Open Sans Semibold" charset="0"/>
              <a:cs typeface="Open Sans Semibold" charset="0"/>
              <a:sym typeface="Gill Sans"/>
            </a:endParaRPr>
          </a:p>
        </p:txBody>
      </p:sp>
      <p:grpSp>
        <p:nvGrpSpPr>
          <p:cNvPr id="3" name="Group 2"/>
          <p:cNvGrpSpPr/>
          <p:nvPr/>
        </p:nvGrpSpPr>
        <p:grpSpPr>
          <a:xfrm>
            <a:off x="2274" y="5237838"/>
            <a:ext cx="12358308" cy="1106208"/>
            <a:chOff x="0" y="153048"/>
            <a:chExt cx="12358308" cy="1106208"/>
          </a:xfrm>
        </p:grpSpPr>
        <p:sp>
          <p:nvSpPr>
            <p:cNvPr id="15" name="Rectangle 14"/>
            <p:cNvSpPr/>
            <p:nvPr/>
          </p:nvSpPr>
          <p:spPr>
            <a:xfrm>
              <a:off x="0" y="153048"/>
              <a:ext cx="12192000" cy="802003"/>
            </a:xfrm>
            <a:prstGeom prst="rect">
              <a:avLst/>
            </a:prstGeom>
            <a:solidFill>
              <a:srgbClr val="006B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6" name="Oval 15"/>
            <p:cNvSpPr>
              <a:spLocks noChangeAspect="1"/>
            </p:cNvSpPr>
            <p:nvPr/>
          </p:nvSpPr>
          <p:spPr>
            <a:xfrm>
              <a:off x="3555234" y="225761"/>
              <a:ext cx="606451" cy="606451"/>
            </a:xfrm>
            <a:prstGeom prst="ellipse">
              <a:avLst/>
            </a:prstGeom>
            <a:solidFill>
              <a:srgbClr val="FFFFFF"/>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16"/>
            <p:cNvSpPr/>
            <p:nvPr/>
          </p:nvSpPr>
          <p:spPr>
            <a:xfrm>
              <a:off x="4286762" y="335216"/>
              <a:ext cx="2023727" cy="707886"/>
            </a:xfrm>
            <a:prstGeom prst="rect">
              <a:avLst/>
            </a:prstGeom>
          </p:spPr>
          <p:txBody>
            <a:bodyPr wrap="square">
              <a:spAutoFit/>
            </a:bodyPr>
            <a:lstStyle/>
            <a:p>
              <a:r>
                <a:rPr lang="en-US" sz="2000" b="1" dirty="0" err="1">
                  <a:solidFill>
                    <a:srgbClr val="FFFFFF"/>
                  </a:solidFill>
                  <a:latin typeface="Arial"/>
                </a:rPr>
                <a:t>Ingresos</a:t>
              </a:r>
              <a:r>
                <a:rPr lang="en-US" sz="2000" b="1" dirty="0">
                  <a:solidFill>
                    <a:srgbClr val="FFFFFF"/>
                  </a:solidFill>
                  <a:latin typeface="Arial"/>
                </a:rPr>
                <a:t>
</a:t>
              </a:r>
            </a:p>
          </p:txBody>
        </p:sp>
        <p:sp>
          <p:nvSpPr>
            <p:cNvPr id="18" name="Rectangle 17"/>
            <p:cNvSpPr/>
            <p:nvPr/>
          </p:nvSpPr>
          <p:spPr>
            <a:xfrm>
              <a:off x="6490181" y="335608"/>
              <a:ext cx="2244888" cy="707886"/>
            </a:xfrm>
            <a:prstGeom prst="rect">
              <a:avLst/>
            </a:prstGeom>
          </p:spPr>
          <p:txBody>
            <a:bodyPr wrap="square">
              <a:spAutoFit/>
            </a:bodyPr>
            <a:lstStyle/>
            <a:p>
              <a:r>
                <a:rPr lang="en-US" sz="2000" b="1" dirty="0" err="1">
                  <a:solidFill>
                    <a:srgbClr val="FFFFFF"/>
                  </a:solidFill>
                  <a:latin typeface="Arial"/>
                </a:rPr>
                <a:t>Retención</a:t>
              </a:r>
              <a:r>
                <a:rPr lang="en-US" sz="2000" b="1" dirty="0">
                  <a:solidFill>
                    <a:srgbClr val="FFFFFF"/>
                  </a:solidFill>
                  <a:latin typeface="Arial"/>
                </a:rPr>
                <a:t>
</a:t>
              </a:r>
            </a:p>
          </p:txBody>
        </p:sp>
        <p:sp>
          <p:nvSpPr>
            <p:cNvPr id="19" name="Rectangle 18"/>
            <p:cNvSpPr/>
            <p:nvPr/>
          </p:nvSpPr>
          <p:spPr>
            <a:xfrm>
              <a:off x="8833558" y="351315"/>
              <a:ext cx="3524750" cy="707886"/>
            </a:xfrm>
            <a:prstGeom prst="rect">
              <a:avLst/>
            </a:prstGeom>
          </p:spPr>
          <p:txBody>
            <a:bodyPr wrap="square">
              <a:spAutoFit/>
            </a:bodyPr>
            <a:lstStyle/>
            <a:p>
              <a:r>
                <a:rPr lang="en-US" sz="2000" b="1" dirty="0" err="1">
                  <a:solidFill>
                    <a:srgbClr val="FFFFFF"/>
                  </a:solidFill>
                  <a:latin typeface="Arial"/>
                </a:rPr>
                <a:t>Relevancia</a:t>
              </a:r>
              <a:r>
                <a:rPr lang="en-US" sz="2000" b="1" dirty="0">
                  <a:solidFill>
                    <a:srgbClr val="FFFFFF"/>
                  </a:solidFill>
                  <a:latin typeface="Arial"/>
                </a:rPr>
                <a:t>
</a:t>
              </a:r>
            </a:p>
          </p:txBody>
        </p:sp>
        <p:sp>
          <p:nvSpPr>
            <p:cNvPr id="21" name="Oval 20"/>
            <p:cNvSpPr>
              <a:spLocks noChangeAspect="1"/>
            </p:cNvSpPr>
            <p:nvPr/>
          </p:nvSpPr>
          <p:spPr>
            <a:xfrm>
              <a:off x="5763661" y="232438"/>
              <a:ext cx="606451" cy="606451"/>
            </a:xfrm>
            <a:prstGeom prst="ellipse">
              <a:avLst/>
            </a:prstGeom>
            <a:solidFill>
              <a:srgbClr val="FFFFFF"/>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3" name="Oval 22"/>
            <p:cNvSpPr>
              <a:spLocks noChangeAspect="1"/>
            </p:cNvSpPr>
            <p:nvPr/>
          </p:nvSpPr>
          <p:spPr>
            <a:xfrm>
              <a:off x="8093967" y="232409"/>
              <a:ext cx="606451" cy="606451"/>
            </a:xfrm>
            <a:prstGeom prst="ellipse">
              <a:avLst/>
            </a:prstGeom>
            <a:solidFill>
              <a:srgbClr val="FFFFFF"/>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24" name="Freeform 1043">
              <a:extLst>
                <a:ext uri="{FF2B5EF4-FFF2-40B4-BE49-F238E27FC236}">
                  <a16:creationId xmlns:a16="http://schemas.microsoft.com/office/drawing/2014/main" id="{C85C50B2-32F5-0F42-9967-883511ADB532}"/>
                </a:ext>
              </a:extLst>
            </p:cNvPr>
            <p:cNvSpPr>
              <a:spLocks noChangeAspect="1" noChangeArrowheads="1"/>
            </p:cNvSpPr>
            <p:nvPr/>
          </p:nvSpPr>
          <p:spPr bwMode="auto">
            <a:xfrm>
              <a:off x="3687832" y="337826"/>
              <a:ext cx="341253" cy="340206"/>
            </a:xfrm>
            <a:custGeom>
              <a:avLst/>
              <a:gdLst>
                <a:gd name="T0" fmla="*/ 222083 w 285392"/>
                <a:gd name="T1" fmla="*/ 3025579 h 283805"/>
                <a:gd name="T2" fmla="*/ 747957 w 285392"/>
                <a:gd name="T3" fmla="*/ 2363494 h 283805"/>
                <a:gd name="T4" fmla="*/ 46722 w 285392"/>
                <a:gd name="T5" fmla="*/ 2268906 h 283805"/>
                <a:gd name="T6" fmla="*/ 966123 w 285392"/>
                <a:gd name="T7" fmla="*/ 2316204 h 283805"/>
                <a:gd name="T8" fmla="*/ 841459 w 285392"/>
                <a:gd name="T9" fmla="*/ 2363494 h 283805"/>
                <a:gd name="T10" fmla="*/ 794721 w 285392"/>
                <a:gd name="T11" fmla="*/ 3120172 h 283805"/>
                <a:gd name="T12" fmla="*/ 124639 w 285392"/>
                <a:gd name="T13" fmla="*/ 3072882 h 283805"/>
                <a:gd name="T14" fmla="*/ 46722 w 285392"/>
                <a:gd name="T15" fmla="*/ 2363494 h 283805"/>
                <a:gd name="T16" fmla="*/ 46722 w 285392"/>
                <a:gd name="T17" fmla="*/ 2268906 h 283805"/>
                <a:gd name="T18" fmla="*/ 2366934 w 285392"/>
                <a:gd name="T19" fmla="*/ 3024816 h 283805"/>
                <a:gd name="T20" fmla="*/ 2894972 w 285392"/>
                <a:gd name="T21" fmla="*/ 1980254 h 283805"/>
                <a:gd name="T22" fmla="*/ 2194850 w 285392"/>
                <a:gd name="T23" fmla="*/ 1884942 h 283805"/>
                <a:gd name="T24" fmla="*/ 3114012 w 285392"/>
                <a:gd name="T25" fmla="*/ 1928632 h 283805"/>
                <a:gd name="T26" fmla="*/ 2988854 w 285392"/>
                <a:gd name="T27" fmla="*/ 1980254 h 283805"/>
                <a:gd name="T28" fmla="*/ 2941906 w 285392"/>
                <a:gd name="T29" fmla="*/ 3120141 h 283805"/>
                <a:gd name="T30" fmla="*/ 2273074 w 285392"/>
                <a:gd name="T31" fmla="*/ 3072491 h 283805"/>
                <a:gd name="T32" fmla="*/ 2194850 w 285392"/>
                <a:gd name="T33" fmla="*/ 1980254 h 283805"/>
                <a:gd name="T34" fmla="*/ 2194850 w 285392"/>
                <a:gd name="T35" fmla="*/ 1884942 h 283805"/>
                <a:gd name="T36" fmla="*/ 1289083 w 285392"/>
                <a:gd name="T37" fmla="*/ 3024654 h 283805"/>
                <a:gd name="T38" fmla="*/ 1821021 w 285392"/>
                <a:gd name="T39" fmla="*/ 1596462 h 283805"/>
                <a:gd name="T40" fmla="*/ 491708 w 285392"/>
                <a:gd name="T41" fmla="*/ 1590764 h 283805"/>
                <a:gd name="T42" fmla="*/ 491708 w 285392"/>
                <a:gd name="T43" fmla="*/ 1996781 h 283805"/>
                <a:gd name="T44" fmla="*/ 491708 w 285392"/>
                <a:gd name="T45" fmla="*/ 1590764 h 283805"/>
                <a:gd name="T46" fmla="*/ 1993126 w 285392"/>
                <a:gd name="T47" fmla="*/ 1500975 h 283805"/>
                <a:gd name="T48" fmla="*/ 1993126 w 285392"/>
                <a:gd name="T49" fmla="*/ 1592466 h 283805"/>
                <a:gd name="T50" fmla="*/ 1914903 w 285392"/>
                <a:gd name="T51" fmla="*/ 3072400 h 283805"/>
                <a:gd name="T52" fmla="*/ 1246057 w 285392"/>
                <a:gd name="T53" fmla="*/ 3120128 h 283805"/>
                <a:gd name="T54" fmla="*/ 1199123 w 285392"/>
                <a:gd name="T55" fmla="*/ 1592466 h 283805"/>
                <a:gd name="T56" fmla="*/ 1073951 w 285392"/>
                <a:gd name="T57" fmla="*/ 1548703 h 283805"/>
                <a:gd name="T58" fmla="*/ 491708 w 285392"/>
                <a:gd name="T59" fmla="*/ 1500975 h 283805"/>
                <a:gd name="T60" fmla="*/ 491708 w 285392"/>
                <a:gd name="T61" fmla="*/ 2090472 h 283805"/>
                <a:gd name="T62" fmla="*/ 491708 w 285392"/>
                <a:gd name="T63" fmla="*/ 1500975 h 283805"/>
                <a:gd name="T64" fmla="*/ 2364040 w 285392"/>
                <a:gd name="T65" fmla="*/ 1359367 h 283805"/>
                <a:gd name="T66" fmla="*/ 2897822 w 285392"/>
                <a:gd name="T67" fmla="*/ 1359367 h 283805"/>
                <a:gd name="T68" fmla="*/ 2632920 w 285392"/>
                <a:gd name="T69" fmla="*/ 994830 h 283805"/>
                <a:gd name="T70" fmla="*/ 2632920 w 285392"/>
                <a:gd name="T71" fmla="*/ 1723902 h 283805"/>
                <a:gd name="T72" fmla="*/ 2632920 w 285392"/>
                <a:gd name="T73" fmla="*/ 994830 h 283805"/>
                <a:gd name="T74" fmla="*/ 1988015 w 285392"/>
                <a:gd name="T75" fmla="*/ 678577 h 283805"/>
                <a:gd name="T76" fmla="*/ 1888069 w 285392"/>
                <a:gd name="T77" fmla="*/ 678577 h 283805"/>
                <a:gd name="T78" fmla="*/ 1193128 w 285392"/>
                <a:gd name="T79" fmla="*/ 628297 h 283805"/>
                <a:gd name="T80" fmla="*/ 1193128 w 285392"/>
                <a:gd name="T81" fmla="*/ 728854 h 283805"/>
                <a:gd name="T82" fmla="*/ 1193128 w 285392"/>
                <a:gd name="T83" fmla="*/ 628297 h 283805"/>
                <a:gd name="T84" fmla="*/ 1603995 w 285392"/>
                <a:gd name="T85" fmla="*/ 257310 h 283805"/>
                <a:gd name="T86" fmla="*/ 1764556 w 285392"/>
                <a:gd name="T87" fmla="*/ 428708 h 283805"/>
                <a:gd name="T88" fmla="*/ 1678398 w 285392"/>
                <a:gd name="T89" fmla="*/ 468608 h 283805"/>
                <a:gd name="T90" fmla="*/ 1427762 w 285392"/>
                <a:gd name="T91" fmla="*/ 508464 h 283805"/>
                <a:gd name="T92" fmla="*/ 1780229 w 285392"/>
                <a:gd name="T93" fmla="*/ 831447 h 283805"/>
                <a:gd name="T94" fmla="*/ 1603995 w 285392"/>
                <a:gd name="T95" fmla="*/ 1082624 h 283805"/>
                <a:gd name="T96" fmla="*/ 1510008 w 285392"/>
                <a:gd name="T97" fmla="*/ 1082624 h 283805"/>
                <a:gd name="T98" fmla="*/ 1349443 w 285392"/>
                <a:gd name="T99" fmla="*/ 907171 h 283805"/>
                <a:gd name="T100" fmla="*/ 1435592 w 285392"/>
                <a:gd name="T101" fmla="*/ 871291 h 283805"/>
                <a:gd name="T102" fmla="*/ 1686238 w 285392"/>
                <a:gd name="T103" fmla="*/ 831447 h 283805"/>
                <a:gd name="T104" fmla="*/ 1333774 w 285392"/>
                <a:gd name="T105" fmla="*/ 508464 h 283805"/>
                <a:gd name="T106" fmla="*/ 1510008 w 285392"/>
                <a:gd name="T107" fmla="*/ 257310 h 283805"/>
                <a:gd name="T108" fmla="*/ 1556994 w 285392"/>
                <a:gd name="T109" fmla="*/ 94981 h 283805"/>
                <a:gd name="T110" fmla="*/ 1556994 w 285392"/>
                <a:gd name="T111" fmla="*/ 1262395 h 283805"/>
                <a:gd name="T112" fmla="*/ 1556994 w 285392"/>
                <a:gd name="T113" fmla="*/ 94981 h 283805"/>
                <a:gd name="T114" fmla="*/ 2230588 w 285392"/>
                <a:gd name="T115" fmla="*/ 676723 h 283805"/>
                <a:gd name="T116" fmla="*/ 883415 w 285392"/>
                <a:gd name="T117" fmla="*/ 676723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rgbClr val="006B87"/>
            </a:solidFill>
            <a:ln>
              <a:noFill/>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272727"/>
                </a:solidFill>
                <a:effectLst/>
                <a:uLnTx/>
                <a:uFillTx/>
                <a:latin typeface="Lato Light" panose="020F0502020204030203" pitchFamily="34" charset="0"/>
              </a:endParaRPr>
            </a:p>
          </p:txBody>
        </p:sp>
        <p:sp>
          <p:nvSpPr>
            <p:cNvPr id="25" name="Freeform 943">
              <a:extLst>
                <a:ext uri="{FF2B5EF4-FFF2-40B4-BE49-F238E27FC236}">
                  <a16:creationId xmlns:a16="http://schemas.microsoft.com/office/drawing/2014/main" id="{54CA2A0A-1967-8A46-9A67-B0F4ADE0450C}"/>
                </a:ext>
              </a:extLst>
            </p:cNvPr>
            <p:cNvSpPr>
              <a:spLocks noChangeAspect="1" noChangeArrowheads="1"/>
            </p:cNvSpPr>
            <p:nvPr/>
          </p:nvSpPr>
          <p:spPr bwMode="auto">
            <a:xfrm>
              <a:off x="5870949" y="351566"/>
              <a:ext cx="388764" cy="388764"/>
            </a:xfrm>
            <a:custGeom>
              <a:avLst/>
              <a:gdLst>
                <a:gd name="T0" fmla="*/ 1251396 w 291740"/>
                <a:gd name="T1" fmla="*/ 2020601 h 291739"/>
                <a:gd name="T2" fmla="*/ 1150798 w 291740"/>
                <a:gd name="T3" fmla="*/ 2020601 h 291739"/>
                <a:gd name="T4" fmla="*/ 1040832 w 291740"/>
                <a:gd name="T5" fmla="*/ 1365640 h 291739"/>
                <a:gd name="T6" fmla="*/ 1326757 w 291740"/>
                <a:gd name="T7" fmla="*/ 2146330 h 291739"/>
                <a:gd name="T8" fmla="*/ 1040832 w 291740"/>
                <a:gd name="T9" fmla="*/ 1365640 h 291739"/>
                <a:gd name="T10" fmla="*/ 1592522 w 291740"/>
                <a:gd name="T11" fmla="*/ 500906 h 291739"/>
                <a:gd name="T12" fmla="*/ 548614 w 291740"/>
                <a:gd name="T13" fmla="*/ 1606171 h 291739"/>
                <a:gd name="T14" fmla="*/ 2314917 w 291740"/>
                <a:gd name="T15" fmla="*/ 2378685 h 291739"/>
                <a:gd name="T16" fmla="*/ 2382405 w 291740"/>
                <a:gd name="T17" fmla="*/ 2449994 h 291739"/>
                <a:gd name="T18" fmla="*/ 453341 w 291740"/>
                <a:gd name="T19" fmla="*/ 1606171 h 291739"/>
                <a:gd name="T20" fmla="*/ 1890637 w 291740"/>
                <a:gd name="T21" fmla="*/ 434341 h 291739"/>
                <a:gd name="T22" fmla="*/ 1811207 w 291740"/>
                <a:gd name="T23" fmla="*/ 767235 h 291739"/>
                <a:gd name="T24" fmla="*/ 1426021 w 291740"/>
                <a:gd name="T25" fmla="*/ 2146330 h 291739"/>
                <a:gd name="T26" fmla="*/ 2613367 w 291740"/>
                <a:gd name="T27" fmla="*/ 2019531 h 291739"/>
                <a:gd name="T28" fmla="*/ 2593503 w 291740"/>
                <a:gd name="T29" fmla="*/ 1916479 h 291739"/>
                <a:gd name="T30" fmla="*/ 2736453 w 291740"/>
                <a:gd name="T31" fmla="*/ 1765886 h 291739"/>
                <a:gd name="T32" fmla="*/ 2688812 w 291740"/>
                <a:gd name="T33" fmla="*/ 1639078 h 291739"/>
                <a:gd name="T34" fmla="*/ 2760285 w 291740"/>
                <a:gd name="T35" fmla="*/ 1504331 h 291739"/>
                <a:gd name="T36" fmla="*/ 2645136 w 291740"/>
                <a:gd name="T37" fmla="*/ 1365640 h 291739"/>
                <a:gd name="T38" fmla="*/ 2744390 w 291740"/>
                <a:gd name="T39" fmla="*/ 1207116 h 291739"/>
                <a:gd name="T40" fmla="*/ 2093147 w 291740"/>
                <a:gd name="T41" fmla="*/ 1096149 h 291739"/>
                <a:gd name="T42" fmla="*/ 2045506 w 291740"/>
                <a:gd name="T43" fmla="*/ 1036714 h 291739"/>
                <a:gd name="T44" fmla="*/ 1890637 w 291740"/>
                <a:gd name="T45" fmla="*/ 434341 h 291739"/>
                <a:gd name="T46" fmla="*/ 2172572 w 291740"/>
                <a:gd name="T47" fmla="*/ 715719 h 291739"/>
                <a:gd name="T48" fmla="*/ 2649091 w 291740"/>
                <a:gd name="T49" fmla="*/ 1001030 h 291739"/>
                <a:gd name="T50" fmla="*/ 2792054 w 291740"/>
                <a:gd name="T51" fmla="*/ 1357716 h 291739"/>
                <a:gd name="T52" fmla="*/ 2800006 w 291740"/>
                <a:gd name="T53" fmla="*/ 1650966 h 291739"/>
                <a:gd name="T54" fmla="*/ 2704696 w 291740"/>
                <a:gd name="T55" fmla="*/ 1964047 h 291739"/>
                <a:gd name="T56" fmla="*/ 2506146 w 291740"/>
                <a:gd name="T57" fmla="*/ 2245414 h 291739"/>
                <a:gd name="T58" fmla="*/ 989211 w 291740"/>
                <a:gd name="T59" fmla="*/ 2245414 h 291739"/>
                <a:gd name="T60" fmla="*/ 941557 w 291740"/>
                <a:gd name="T61" fmla="*/ 1314115 h 291739"/>
                <a:gd name="T62" fmla="*/ 1354556 w 291740"/>
                <a:gd name="T63" fmla="*/ 1266565 h 291739"/>
                <a:gd name="T64" fmla="*/ 1692089 w 291740"/>
                <a:gd name="T65" fmla="*/ 414542 h 291739"/>
                <a:gd name="T66" fmla="*/ 1894605 w 291740"/>
                <a:gd name="T67" fmla="*/ 335278 h 291739"/>
                <a:gd name="T68" fmla="*/ 99008 w 291740"/>
                <a:gd name="T69" fmla="*/ 1604202 h 291739"/>
                <a:gd name="T70" fmla="*/ 3105309 w 291740"/>
                <a:gd name="T71" fmla="*/ 1604202 h 291739"/>
                <a:gd name="T72" fmla="*/ 1600188 w 291740"/>
                <a:gd name="T73" fmla="*/ 0 h 291739"/>
                <a:gd name="T74" fmla="*/ 1600188 w 291740"/>
                <a:gd name="T75" fmla="*/ 3204428 h 291739"/>
                <a:gd name="T76" fmla="*/ 1600188 w 291740"/>
                <a:gd name="T77" fmla="*/ 0 h 2917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1740" h="291739">
                  <a:moveTo>
                    <a:pt x="109171" y="179388"/>
                  </a:moveTo>
                  <a:cubicBezTo>
                    <a:pt x="111736" y="179388"/>
                    <a:pt x="113934" y="181674"/>
                    <a:pt x="113934" y="183960"/>
                  </a:cubicBezTo>
                  <a:cubicBezTo>
                    <a:pt x="113934" y="186627"/>
                    <a:pt x="111736" y="188532"/>
                    <a:pt x="109171" y="188532"/>
                  </a:cubicBezTo>
                  <a:cubicBezTo>
                    <a:pt x="106607" y="188532"/>
                    <a:pt x="104775" y="186627"/>
                    <a:pt x="104775" y="183960"/>
                  </a:cubicBezTo>
                  <a:cubicBezTo>
                    <a:pt x="104775" y="181674"/>
                    <a:pt x="106607" y="179388"/>
                    <a:pt x="109171" y="179388"/>
                  </a:cubicBezTo>
                  <a:close/>
                  <a:moveTo>
                    <a:pt x="94763" y="124331"/>
                  </a:moveTo>
                  <a:lnTo>
                    <a:pt x="94763" y="195407"/>
                  </a:lnTo>
                  <a:lnTo>
                    <a:pt x="120795" y="195407"/>
                  </a:lnTo>
                  <a:lnTo>
                    <a:pt x="120795" y="124331"/>
                  </a:lnTo>
                  <a:lnTo>
                    <a:pt x="94763" y="124331"/>
                  </a:lnTo>
                  <a:close/>
                  <a:moveTo>
                    <a:pt x="140655" y="41636"/>
                  </a:moveTo>
                  <a:cubicBezTo>
                    <a:pt x="143185" y="41275"/>
                    <a:pt x="144992" y="43439"/>
                    <a:pt x="144992" y="45603"/>
                  </a:cubicBezTo>
                  <a:cubicBezTo>
                    <a:pt x="145353" y="48128"/>
                    <a:pt x="143546" y="50292"/>
                    <a:pt x="141017" y="50292"/>
                  </a:cubicBezTo>
                  <a:cubicBezTo>
                    <a:pt x="90061" y="52816"/>
                    <a:pt x="49948" y="95015"/>
                    <a:pt x="49948" y="146230"/>
                  </a:cubicBezTo>
                  <a:cubicBezTo>
                    <a:pt x="49948" y="198888"/>
                    <a:pt x="92953" y="241808"/>
                    <a:pt x="145715" y="241808"/>
                  </a:cubicBezTo>
                  <a:cubicBezTo>
                    <a:pt x="169927" y="241808"/>
                    <a:pt x="193056" y="232791"/>
                    <a:pt x="210763" y="216561"/>
                  </a:cubicBezTo>
                  <a:cubicBezTo>
                    <a:pt x="212570" y="214758"/>
                    <a:pt x="215461" y="215119"/>
                    <a:pt x="217268" y="216561"/>
                  </a:cubicBezTo>
                  <a:cubicBezTo>
                    <a:pt x="218714" y="218725"/>
                    <a:pt x="218714" y="221250"/>
                    <a:pt x="216907" y="223053"/>
                  </a:cubicBezTo>
                  <a:cubicBezTo>
                    <a:pt x="197754" y="240726"/>
                    <a:pt x="172457" y="250464"/>
                    <a:pt x="145715" y="250464"/>
                  </a:cubicBezTo>
                  <a:cubicBezTo>
                    <a:pt x="88255" y="250464"/>
                    <a:pt x="41275" y="203577"/>
                    <a:pt x="41275" y="146230"/>
                  </a:cubicBezTo>
                  <a:cubicBezTo>
                    <a:pt x="41275" y="90326"/>
                    <a:pt x="84641" y="44521"/>
                    <a:pt x="140655" y="41636"/>
                  </a:cubicBezTo>
                  <a:close/>
                  <a:moveTo>
                    <a:pt x="172134" y="39544"/>
                  </a:moveTo>
                  <a:cubicBezTo>
                    <a:pt x="168157" y="39183"/>
                    <a:pt x="165264" y="39544"/>
                    <a:pt x="163095" y="39904"/>
                  </a:cubicBezTo>
                  <a:cubicBezTo>
                    <a:pt x="164903" y="47481"/>
                    <a:pt x="167072" y="62995"/>
                    <a:pt x="164903" y="69850"/>
                  </a:cubicBezTo>
                  <a:cubicBezTo>
                    <a:pt x="157672" y="90777"/>
                    <a:pt x="135618" y="115311"/>
                    <a:pt x="129833" y="121444"/>
                  </a:cubicBezTo>
                  <a:lnTo>
                    <a:pt x="129833" y="195407"/>
                  </a:lnTo>
                  <a:lnTo>
                    <a:pt x="227088" y="195407"/>
                  </a:lnTo>
                  <a:cubicBezTo>
                    <a:pt x="233234" y="195047"/>
                    <a:pt x="237935" y="189995"/>
                    <a:pt x="237935" y="183862"/>
                  </a:cubicBezTo>
                  <a:cubicBezTo>
                    <a:pt x="237935" y="182058"/>
                    <a:pt x="237573" y="179893"/>
                    <a:pt x="236488" y="178450"/>
                  </a:cubicBezTo>
                  <a:cubicBezTo>
                    <a:pt x="235765" y="177007"/>
                    <a:pt x="235765" y="175564"/>
                    <a:pt x="236127" y="174481"/>
                  </a:cubicBezTo>
                  <a:cubicBezTo>
                    <a:pt x="236850" y="173038"/>
                    <a:pt x="237935" y="172316"/>
                    <a:pt x="239381" y="171956"/>
                  </a:cubicBezTo>
                  <a:cubicBezTo>
                    <a:pt x="245165" y="170873"/>
                    <a:pt x="249142" y="166183"/>
                    <a:pt x="249142" y="160771"/>
                  </a:cubicBezTo>
                  <a:cubicBezTo>
                    <a:pt x="249142" y="157885"/>
                    <a:pt x="248058" y="154998"/>
                    <a:pt x="245888" y="152833"/>
                  </a:cubicBezTo>
                  <a:cubicBezTo>
                    <a:pt x="244804" y="151751"/>
                    <a:pt x="244442" y="150669"/>
                    <a:pt x="244804" y="149225"/>
                  </a:cubicBezTo>
                  <a:cubicBezTo>
                    <a:pt x="244804" y="148143"/>
                    <a:pt x="245527" y="147061"/>
                    <a:pt x="246612" y="146339"/>
                  </a:cubicBezTo>
                  <a:cubicBezTo>
                    <a:pt x="249504" y="144174"/>
                    <a:pt x="251312" y="140566"/>
                    <a:pt x="251312" y="136958"/>
                  </a:cubicBezTo>
                  <a:cubicBezTo>
                    <a:pt x="251312" y="131186"/>
                    <a:pt x="247335" y="128660"/>
                    <a:pt x="245165" y="128660"/>
                  </a:cubicBezTo>
                  <a:cubicBezTo>
                    <a:pt x="242635" y="128660"/>
                    <a:pt x="240827" y="126856"/>
                    <a:pt x="240827" y="124331"/>
                  </a:cubicBezTo>
                  <a:cubicBezTo>
                    <a:pt x="240827" y="121805"/>
                    <a:pt x="242635" y="119640"/>
                    <a:pt x="245165" y="119640"/>
                  </a:cubicBezTo>
                  <a:cubicBezTo>
                    <a:pt x="245888" y="119640"/>
                    <a:pt x="249865" y="117115"/>
                    <a:pt x="249865" y="109899"/>
                  </a:cubicBezTo>
                  <a:cubicBezTo>
                    <a:pt x="249865" y="104126"/>
                    <a:pt x="245527" y="99796"/>
                    <a:pt x="241188" y="99796"/>
                  </a:cubicBezTo>
                  <a:lnTo>
                    <a:pt x="190572" y="99796"/>
                  </a:lnTo>
                  <a:cubicBezTo>
                    <a:pt x="189126" y="99796"/>
                    <a:pt x="188042" y="99075"/>
                    <a:pt x="186957" y="97993"/>
                  </a:cubicBezTo>
                  <a:cubicBezTo>
                    <a:pt x="186234" y="96910"/>
                    <a:pt x="185872" y="95467"/>
                    <a:pt x="186234" y="94385"/>
                  </a:cubicBezTo>
                  <a:cubicBezTo>
                    <a:pt x="187680" y="90055"/>
                    <a:pt x="190211" y="78870"/>
                    <a:pt x="189126" y="65882"/>
                  </a:cubicBezTo>
                  <a:cubicBezTo>
                    <a:pt x="187680" y="50728"/>
                    <a:pt x="180449" y="39544"/>
                    <a:pt x="172134" y="39544"/>
                  </a:cubicBezTo>
                  <a:close/>
                  <a:moveTo>
                    <a:pt x="172495" y="30524"/>
                  </a:moveTo>
                  <a:cubicBezTo>
                    <a:pt x="185872" y="31245"/>
                    <a:pt x="195996" y="44956"/>
                    <a:pt x="197803" y="65160"/>
                  </a:cubicBezTo>
                  <a:cubicBezTo>
                    <a:pt x="198888" y="75623"/>
                    <a:pt x="197442" y="85004"/>
                    <a:pt x="195996" y="91137"/>
                  </a:cubicBezTo>
                  <a:lnTo>
                    <a:pt x="241188" y="91137"/>
                  </a:lnTo>
                  <a:cubicBezTo>
                    <a:pt x="250588" y="91137"/>
                    <a:pt x="258904" y="99436"/>
                    <a:pt x="258904" y="109899"/>
                  </a:cubicBezTo>
                  <a:cubicBezTo>
                    <a:pt x="258904" y="116032"/>
                    <a:pt x="257096" y="120362"/>
                    <a:pt x="254204" y="123609"/>
                  </a:cubicBezTo>
                  <a:cubicBezTo>
                    <a:pt x="257819" y="126495"/>
                    <a:pt x="259989" y="131186"/>
                    <a:pt x="259989" y="136958"/>
                  </a:cubicBezTo>
                  <a:cubicBezTo>
                    <a:pt x="259989" y="142010"/>
                    <a:pt x="258181" y="146700"/>
                    <a:pt x="254927" y="150308"/>
                  </a:cubicBezTo>
                  <a:cubicBezTo>
                    <a:pt x="257096" y="153555"/>
                    <a:pt x="257819" y="157163"/>
                    <a:pt x="257819" y="160771"/>
                  </a:cubicBezTo>
                  <a:cubicBezTo>
                    <a:pt x="257819" y="168348"/>
                    <a:pt x="253481" y="175564"/>
                    <a:pt x="246250" y="178811"/>
                  </a:cubicBezTo>
                  <a:cubicBezTo>
                    <a:pt x="246612" y="180615"/>
                    <a:pt x="246973" y="182058"/>
                    <a:pt x="246973" y="183862"/>
                  </a:cubicBezTo>
                  <a:cubicBezTo>
                    <a:pt x="246973" y="194325"/>
                    <a:pt x="239019" y="203345"/>
                    <a:pt x="228173" y="204427"/>
                  </a:cubicBezTo>
                  <a:cubicBezTo>
                    <a:pt x="227811" y="204427"/>
                    <a:pt x="227088" y="204427"/>
                    <a:pt x="226727" y="204427"/>
                  </a:cubicBezTo>
                  <a:lnTo>
                    <a:pt x="90063" y="204427"/>
                  </a:lnTo>
                  <a:cubicBezTo>
                    <a:pt x="87894" y="204427"/>
                    <a:pt x="85725" y="202262"/>
                    <a:pt x="85725" y="200098"/>
                  </a:cubicBezTo>
                  <a:lnTo>
                    <a:pt x="85725" y="119640"/>
                  </a:lnTo>
                  <a:cubicBezTo>
                    <a:pt x="85725" y="117115"/>
                    <a:pt x="87894" y="115311"/>
                    <a:pt x="90063" y="115311"/>
                  </a:cubicBezTo>
                  <a:lnTo>
                    <a:pt x="123326" y="115311"/>
                  </a:lnTo>
                  <a:cubicBezTo>
                    <a:pt x="128749" y="109538"/>
                    <a:pt x="150080" y="85725"/>
                    <a:pt x="156226" y="66964"/>
                  </a:cubicBezTo>
                  <a:cubicBezTo>
                    <a:pt x="158034" y="61913"/>
                    <a:pt x="155503" y="46399"/>
                    <a:pt x="154057" y="37740"/>
                  </a:cubicBezTo>
                  <a:cubicBezTo>
                    <a:pt x="153695" y="35936"/>
                    <a:pt x="154418" y="33771"/>
                    <a:pt x="155864" y="33049"/>
                  </a:cubicBezTo>
                  <a:cubicBezTo>
                    <a:pt x="156587" y="32328"/>
                    <a:pt x="161287" y="30163"/>
                    <a:pt x="172495" y="30524"/>
                  </a:cubicBezTo>
                  <a:close/>
                  <a:moveTo>
                    <a:pt x="145690" y="9015"/>
                  </a:moveTo>
                  <a:cubicBezTo>
                    <a:pt x="70320" y="9015"/>
                    <a:pt x="9015" y="70320"/>
                    <a:pt x="9015" y="146050"/>
                  </a:cubicBezTo>
                  <a:cubicBezTo>
                    <a:pt x="9015" y="221419"/>
                    <a:pt x="70320" y="282724"/>
                    <a:pt x="145690" y="282724"/>
                  </a:cubicBezTo>
                  <a:cubicBezTo>
                    <a:pt x="221419" y="282724"/>
                    <a:pt x="282724" y="221419"/>
                    <a:pt x="282724" y="146050"/>
                  </a:cubicBezTo>
                  <a:cubicBezTo>
                    <a:pt x="282724" y="70320"/>
                    <a:pt x="221419" y="9015"/>
                    <a:pt x="145690" y="9015"/>
                  </a:cubicBezTo>
                  <a:close/>
                  <a:moveTo>
                    <a:pt x="145690" y="0"/>
                  </a:moveTo>
                  <a:cubicBezTo>
                    <a:pt x="226107" y="0"/>
                    <a:pt x="291740" y="65632"/>
                    <a:pt x="291740" y="146050"/>
                  </a:cubicBezTo>
                  <a:cubicBezTo>
                    <a:pt x="291740" y="226107"/>
                    <a:pt x="226107" y="291739"/>
                    <a:pt x="145690" y="291739"/>
                  </a:cubicBezTo>
                  <a:cubicBezTo>
                    <a:pt x="65632" y="291739"/>
                    <a:pt x="0" y="226107"/>
                    <a:pt x="0" y="146050"/>
                  </a:cubicBezTo>
                  <a:cubicBezTo>
                    <a:pt x="0" y="65632"/>
                    <a:pt x="65632" y="0"/>
                    <a:pt x="145690" y="0"/>
                  </a:cubicBezTo>
                  <a:close/>
                </a:path>
              </a:pathLst>
            </a:custGeom>
            <a:solidFill>
              <a:srgbClr val="006B87"/>
            </a:solidFill>
            <a:ln>
              <a:noFill/>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272727"/>
                </a:solidFill>
                <a:effectLst/>
                <a:uLnTx/>
                <a:uFillTx/>
                <a:latin typeface="Lato Light" panose="020F0502020204030203" pitchFamily="34" charset="0"/>
              </a:endParaRPr>
            </a:p>
          </p:txBody>
        </p:sp>
        <p:sp>
          <p:nvSpPr>
            <p:cNvPr id="39" name="Rectangle 38"/>
            <p:cNvSpPr/>
            <p:nvPr/>
          </p:nvSpPr>
          <p:spPr>
            <a:xfrm>
              <a:off x="801096" y="243593"/>
              <a:ext cx="2549497" cy="1015663"/>
            </a:xfrm>
            <a:prstGeom prst="rect">
              <a:avLst/>
            </a:prstGeom>
          </p:spPr>
          <p:txBody>
            <a:bodyPr wrap="square">
              <a:spAutoFit/>
            </a:bodyPr>
            <a:lstStyle/>
            <a:p>
              <a:r>
                <a:rPr lang="en-US" sz="2000" b="1" dirty="0" err="1">
                  <a:solidFill>
                    <a:srgbClr val="FFFFFF"/>
                  </a:solidFill>
                  <a:latin typeface="Arial"/>
                </a:rPr>
                <a:t>Beneficios</a:t>
              </a:r>
              <a:r>
                <a:rPr lang="en-US" sz="2000" b="1" dirty="0">
                  <a:solidFill>
                    <a:srgbClr val="FFFFFF"/>
                  </a:solidFill>
                  <a:latin typeface="Arial"/>
                </a:rPr>
                <a:t> de la </a:t>
              </a:r>
              <a:r>
                <a:rPr lang="en-US" sz="2000" b="1" dirty="0" err="1">
                  <a:solidFill>
                    <a:srgbClr val="FFFFFF"/>
                  </a:solidFill>
                  <a:latin typeface="Arial"/>
                </a:rPr>
                <a:t>cedente</a:t>
              </a:r>
              <a:r>
                <a:rPr lang="en-US" sz="2000" b="1" dirty="0">
                  <a:solidFill>
                    <a:srgbClr val="FFFFFF"/>
                  </a:solidFill>
                  <a:latin typeface="Arial"/>
                </a:rPr>
                <a:t>:
</a:t>
              </a:r>
            </a:p>
          </p:txBody>
        </p:sp>
        <p:sp>
          <p:nvSpPr>
            <p:cNvPr id="20" name="Freeform 1019">
              <a:extLst>
                <a:ext uri="{FF2B5EF4-FFF2-40B4-BE49-F238E27FC236}">
                  <a16:creationId xmlns:a16="http://schemas.microsoft.com/office/drawing/2014/main" id="{A395E1A2-9ACF-1C40-9AC0-22F9380CC537}"/>
                </a:ext>
              </a:extLst>
            </p:cNvPr>
            <p:cNvSpPr>
              <a:spLocks noChangeAspect="1" noChangeArrowheads="1"/>
            </p:cNvSpPr>
            <p:nvPr/>
          </p:nvSpPr>
          <p:spPr bwMode="auto">
            <a:xfrm>
              <a:off x="8192456" y="334759"/>
              <a:ext cx="398012" cy="398012"/>
            </a:xfrm>
            <a:custGeom>
              <a:avLst/>
              <a:gdLst>
                <a:gd name="T0" fmla="*/ 5693510 w 290152"/>
                <a:gd name="T1" fmla="*/ 5668307 h 289785"/>
                <a:gd name="T2" fmla="*/ 5693510 w 290152"/>
                <a:gd name="T3" fmla="*/ 5853295 h 289785"/>
                <a:gd name="T4" fmla="*/ 0 w 290152"/>
                <a:gd name="T5" fmla="*/ 5764512 h 289785"/>
                <a:gd name="T6" fmla="*/ 3349352 w 290152"/>
                <a:gd name="T7" fmla="*/ 4385669 h 289785"/>
                <a:gd name="T8" fmla="*/ 3427364 w 290152"/>
                <a:gd name="T9" fmla="*/ 5116975 h 289785"/>
                <a:gd name="T10" fmla="*/ 3831682 w 290152"/>
                <a:gd name="T11" fmla="*/ 5116975 h 289785"/>
                <a:gd name="T12" fmla="*/ 4008998 w 290152"/>
                <a:gd name="T13" fmla="*/ 5116975 h 289785"/>
                <a:gd name="T14" fmla="*/ 3257137 w 290152"/>
                <a:gd name="T15" fmla="*/ 5116975 h 289785"/>
                <a:gd name="T16" fmla="*/ 3349352 w 290152"/>
                <a:gd name="T17" fmla="*/ 4385669 h 289785"/>
                <a:gd name="T18" fmla="*/ 2965225 w 290152"/>
                <a:gd name="T19" fmla="*/ 4472560 h 289785"/>
                <a:gd name="T20" fmla="*/ 2870360 w 290152"/>
                <a:gd name="T21" fmla="*/ 5500730 h 289785"/>
                <a:gd name="T22" fmla="*/ 2782794 w 290152"/>
                <a:gd name="T23" fmla="*/ 4472560 h 289785"/>
                <a:gd name="T24" fmla="*/ 2405115 w 290152"/>
                <a:gd name="T25" fmla="*/ 4385669 h 289785"/>
                <a:gd name="T26" fmla="*/ 2491056 w 290152"/>
                <a:gd name="T27" fmla="*/ 5116975 h 289785"/>
                <a:gd name="T28" fmla="*/ 1739260 w 290152"/>
                <a:gd name="T29" fmla="*/ 5116975 h 289785"/>
                <a:gd name="T30" fmla="*/ 1911110 w 290152"/>
                <a:gd name="T31" fmla="*/ 5116975 h 289785"/>
                <a:gd name="T32" fmla="*/ 2319206 w 290152"/>
                <a:gd name="T33" fmla="*/ 5116975 h 289785"/>
                <a:gd name="T34" fmla="*/ 2405115 w 290152"/>
                <a:gd name="T35" fmla="*/ 4385669 h 289785"/>
                <a:gd name="T36" fmla="*/ 2675523 w 290152"/>
                <a:gd name="T37" fmla="*/ 3227732 h 289785"/>
                <a:gd name="T38" fmla="*/ 3072723 w 290152"/>
                <a:gd name="T39" fmla="*/ 3227732 h 289785"/>
                <a:gd name="T40" fmla="*/ 2874135 w 290152"/>
                <a:gd name="T41" fmla="*/ 2846517 h 289785"/>
                <a:gd name="T42" fmla="*/ 2874135 w 290152"/>
                <a:gd name="T43" fmla="*/ 3608904 h 289785"/>
                <a:gd name="T44" fmla="*/ 2874135 w 290152"/>
                <a:gd name="T45" fmla="*/ 2846517 h 289785"/>
                <a:gd name="T46" fmla="*/ 3771000 w 290152"/>
                <a:gd name="T47" fmla="*/ 4055540 h 289785"/>
                <a:gd name="T48" fmla="*/ 4323500 w 290152"/>
                <a:gd name="T49" fmla="*/ 3596824 h 289785"/>
                <a:gd name="T50" fmla="*/ 4495719 w 290152"/>
                <a:gd name="T51" fmla="*/ 3596824 h 289785"/>
                <a:gd name="T52" fmla="*/ 4904699 w 290152"/>
                <a:gd name="T53" fmla="*/ 4601621 h 289785"/>
                <a:gd name="T54" fmla="*/ 3771000 w 290152"/>
                <a:gd name="T55" fmla="*/ 2380887 h 289785"/>
                <a:gd name="T56" fmla="*/ 836270 w 290152"/>
                <a:gd name="T57" fmla="*/ 3633218 h 289785"/>
                <a:gd name="T58" fmla="*/ 1245277 w 290152"/>
                <a:gd name="T59" fmla="*/ 4404989 h 289785"/>
                <a:gd name="T60" fmla="*/ 1331397 w 290152"/>
                <a:gd name="T61" fmla="*/ 3509440 h 289785"/>
                <a:gd name="T62" fmla="*/ 1417512 w 290152"/>
                <a:gd name="T63" fmla="*/ 4317618 h 289785"/>
                <a:gd name="T64" fmla="*/ 1970004 w 290152"/>
                <a:gd name="T65" fmla="*/ 2380887 h 289785"/>
                <a:gd name="T66" fmla="*/ 2675523 w 290152"/>
                <a:gd name="T67" fmla="*/ 2041299 h 289785"/>
                <a:gd name="T68" fmla="*/ 3072723 w 290152"/>
                <a:gd name="T69" fmla="*/ 2041299 h 289785"/>
                <a:gd name="T70" fmla="*/ 2874135 w 290152"/>
                <a:gd name="T71" fmla="*/ 1660124 h 289785"/>
                <a:gd name="T72" fmla="*/ 2874135 w 290152"/>
                <a:gd name="T73" fmla="*/ 2422491 h 289785"/>
                <a:gd name="T74" fmla="*/ 2874135 w 290152"/>
                <a:gd name="T75" fmla="*/ 1660124 h 289785"/>
                <a:gd name="T76" fmla="*/ 2142206 w 290152"/>
                <a:gd name="T77" fmla="*/ 1740155 h 289785"/>
                <a:gd name="T78" fmla="*/ 3598788 w 290152"/>
                <a:gd name="T79" fmla="*/ 4019106 h 289785"/>
                <a:gd name="T80" fmla="*/ 3519860 w 290152"/>
                <a:gd name="T81" fmla="*/ 1266895 h 289785"/>
                <a:gd name="T82" fmla="*/ 2866918 w 290152"/>
                <a:gd name="T83" fmla="*/ 211129 h 289785"/>
                <a:gd name="T84" fmla="*/ 3462467 w 290152"/>
                <a:gd name="T85" fmla="*/ 1084861 h 289785"/>
                <a:gd name="T86" fmla="*/ 2809503 w 290152"/>
                <a:gd name="T87" fmla="*/ 21862 h 289785"/>
                <a:gd name="T88" fmla="*/ 3771000 w 290152"/>
                <a:gd name="T89" fmla="*/ 1740155 h 289785"/>
                <a:gd name="T90" fmla="*/ 5055396 w 290152"/>
                <a:gd name="T91" fmla="*/ 3538611 h 289785"/>
                <a:gd name="T92" fmla="*/ 5084102 w 290152"/>
                <a:gd name="T93" fmla="*/ 4739940 h 289785"/>
                <a:gd name="T94" fmla="*/ 4990805 w 290152"/>
                <a:gd name="T95" fmla="*/ 4827315 h 289785"/>
                <a:gd name="T96" fmla="*/ 3663364 w 290152"/>
                <a:gd name="T97" fmla="*/ 4193864 h 289785"/>
                <a:gd name="T98" fmla="*/ 786045 w 290152"/>
                <a:gd name="T99" fmla="*/ 4820047 h 289785"/>
                <a:gd name="T100" fmla="*/ 707094 w 290152"/>
                <a:gd name="T101" fmla="*/ 4812750 h 289785"/>
                <a:gd name="T102" fmla="*/ 664113 w 290152"/>
                <a:gd name="T103" fmla="*/ 3596824 h 289785"/>
                <a:gd name="T104" fmla="*/ 1970004 w 290152"/>
                <a:gd name="T105" fmla="*/ 2118756 h 289785"/>
                <a:gd name="T106" fmla="*/ 2809503 w 290152"/>
                <a:gd name="T107" fmla="*/ 21862 h 2897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89785">
                  <a:moveTo>
                    <a:pt x="4331" y="280626"/>
                  </a:moveTo>
                  <a:lnTo>
                    <a:pt x="285822" y="280626"/>
                  </a:lnTo>
                  <a:cubicBezTo>
                    <a:pt x="288348" y="280626"/>
                    <a:pt x="290152" y="282458"/>
                    <a:pt x="290152" y="285389"/>
                  </a:cubicBezTo>
                  <a:cubicBezTo>
                    <a:pt x="290152" y="287587"/>
                    <a:pt x="288348" y="289785"/>
                    <a:pt x="285822" y="289785"/>
                  </a:cubicBezTo>
                  <a:lnTo>
                    <a:pt x="4331" y="289785"/>
                  </a:lnTo>
                  <a:cubicBezTo>
                    <a:pt x="2165" y="289785"/>
                    <a:pt x="0" y="287587"/>
                    <a:pt x="0" y="285389"/>
                  </a:cubicBezTo>
                  <a:cubicBezTo>
                    <a:pt x="0" y="282458"/>
                    <a:pt x="2165" y="280626"/>
                    <a:pt x="4331" y="280626"/>
                  </a:cubicBezTo>
                  <a:close/>
                  <a:moveTo>
                    <a:pt x="168142" y="217126"/>
                  </a:moveTo>
                  <a:cubicBezTo>
                    <a:pt x="170279" y="217126"/>
                    <a:pt x="172059" y="218918"/>
                    <a:pt x="172059" y="221427"/>
                  </a:cubicBezTo>
                  <a:lnTo>
                    <a:pt x="172059" y="253331"/>
                  </a:lnTo>
                  <a:cubicBezTo>
                    <a:pt x="172059" y="258708"/>
                    <a:pt x="176688" y="263369"/>
                    <a:pt x="182385" y="263369"/>
                  </a:cubicBezTo>
                  <a:cubicBezTo>
                    <a:pt x="188082" y="263369"/>
                    <a:pt x="192355" y="258708"/>
                    <a:pt x="192355" y="253331"/>
                  </a:cubicBezTo>
                  <a:cubicBezTo>
                    <a:pt x="192355" y="250822"/>
                    <a:pt x="194492" y="249030"/>
                    <a:pt x="196984" y="249030"/>
                  </a:cubicBezTo>
                  <a:cubicBezTo>
                    <a:pt x="199477" y="249030"/>
                    <a:pt x="201257" y="250822"/>
                    <a:pt x="201257" y="253331"/>
                  </a:cubicBezTo>
                  <a:cubicBezTo>
                    <a:pt x="201257" y="263727"/>
                    <a:pt x="192711" y="272330"/>
                    <a:pt x="182385" y="272330"/>
                  </a:cubicBezTo>
                  <a:cubicBezTo>
                    <a:pt x="172059" y="272330"/>
                    <a:pt x="163513" y="263727"/>
                    <a:pt x="163513" y="253331"/>
                  </a:cubicBezTo>
                  <a:lnTo>
                    <a:pt x="163513" y="221427"/>
                  </a:lnTo>
                  <a:cubicBezTo>
                    <a:pt x="163513" y="218918"/>
                    <a:pt x="165293" y="217126"/>
                    <a:pt x="168142" y="217126"/>
                  </a:cubicBezTo>
                  <a:close/>
                  <a:moveTo>
                    <a:pt x="144096" y="217126"/>
                  </a:moveTo>
                  <a:cubicBezTo>
                    <a:pt x="146661" y="217126"/>
                    <a:pt x="148859" y="218918"/>
                    <a:pt x="148859" y="221427"/>
                  </a:cubicBezTo>
                  <a:lnTo>
                    <a:pt x="148859" y="268029"/>
                  </a:lnTo>
                  <a:cubicBezTo>
                    <a:pt x="148859" y="270179"/>
                    <a:pt x="146661" y="272330"/>
                    <a:pt x="144096" y="272330"/>
                  </a:cubicBezTo>
                  <a:cubicBezTo>
                    <a:pt x="141898" y="272330"/>
                    <a:pt x="139700" y="270179"/>
                    <a:pt x="139700" y="268029"/>
                  </a:cubicBezTo>
                  <a:lnTo>
                    <a:pt x="139700" y="221427"/>
                  </a:lnTo>
                  <a:cubicBezTo>
                    <a:pt x="139700" y="218918"/>
                    <a:pt x="141898" y="217126"/>
                    <a:pt x="144096" y="217126"/>
                  </a:cubicBezTo>
                  <a:close/>
                  <a:moveTo>
                    <a:pt x="120740" y="217126"/>
                  </a:moveTo>
                  <a:cubicBezTo>
                    <a:pt x="123257" y="217126"/>
                    <a:pt x="125054" y="218918"/>
                    <a:pt x="125054" y="221427"/>
                  </a:cubicBezTo>
                  <a:lnTo>
                    <a:pt x="125054" y="253331"/>
                  </a:lnTo>
                  <a:cubicBezTo>
                    <a:pt x="125054" y="263727"/>
                    <a:pt x="116787" y="272330"/>
                    <a:pt x="106363" y="272330"/>
                  </a:cubicBezTo>
                  <a:cubicBezTo>
                    <a:pt x="95940" y="272330"/>
                    <a:pt x="87313" y="263727"/>
                    <a:pt x="87313" y="253331"/>
                  </a:cubicBezTo>
                  <a:cubicBezTo>
                    <a:pt x="87313" y="250822"/>
                    <a:pt x="89470" y="249030"/>
                    <a:pt x="91626" y="249030"/>
                  </a:cubicBezTo>
                  <a:cubicBezTo>
                    <a:pt x="94142" y="249030"/>
                    <a:pt x="95940" y="250822"/>
                    <a:pt x="95940" y="253331"/>
                  </a:cubicBezTo>
                  <a:cubicBezTo>
                    <a:pt x="95940" y="258708"/>
                    <a:pt x="100612" y="263369"/>
                    <a:pt x="106363" y="263369"/>
                  </a:cubicBezTo>
                  <a:cubicBezTo>
                    <a:pt x="112114" y="263369"/>
                    <a:pt x="116427" y="258708"/>
                    <a:pt x="116427" y="253331"/>
                  </a:cubicBezTo>
                  <a:lnTo>
                    <a:pt x="116427" y="221427"/>
                  </a:lnTo>
                  <a:cubicBezTo>
                    <a:pt x="116427" y="218918"/>
                    <a:pt x="118584" y="217126"/>
                    <a:pt x="120740" y="217126"/>
                  </a:cubicBezTo>
                  <a:close/>
                  <a:moveTo>
                    <a:pt x="144285" y="149828"/>
                  </a:moveTo>
                  <a:cubicBezTo>
                    <a:pt x="138588" y="149828"/>
                    <a:pt x="134315" y="154457"/>
                    <a:pt x="134315" y="159798"/>
                  </a:cubicBezTo>
                  <a:cubicBezTo>
                    <a:pt x="134315" y="165495"/>
                    <a:pt x="138588" y="170124"/>
                    <a:pt x="144285" y="170124"/>
                  </a:cubicBezTo>
                  <a:cubicBezTo>
                    <a:pt x="149982" y="170124"/>
                    <a:pt x="154255" y="165495"/>
                    <a:pt x="154255" y="159798"/>
                  </a:cubicBezTo>
                  <a:cubicBezTo>
                    <a:pt x="154255" y="154457"/>
                    <a:pt x="149982" y="149828"/>
                    <a:pt x="144285" y="149828"/>
                  </a:cubicBezTo>
                  <a:close/>
                  <a:moveTo>
                    <a:pt x="144285" y="140926"/>
                  </a:moveTo>
                  <a:cubicBezTo>
                    <a:pt x="154967" y="140926"/>
                    <a:pt x="163157" y="149472"/>
                    <a:pt x="163157" y="159798"/>
                  </a:cubicBezTo>
                  <a:cubicBezTo>
                    <a:pt x="163157" y="170480"/>
                    <a:pt x="154967" y="178670"/>
                    <a:pt x="144285" y="178670"/>
                  </a:cubicBezTo>
                  <a:cubicBezTo>
                    <a:pt x="133959" y="178670"/>
                    <a:pt x="125413" y="170480"/>
                    <a:pt x="125413" y="159798"/>
                  </a:cubicBezTo>
                  <a:cubicBezTo>
                    <a:pt x="125413" y="149472"/>
                    <a:pt x="133959" y="140926"/>
                    <a:pt x="144285" y="140926"/>
                  </a:cubicBezTo>
                  <a:close/>
                  <a:moveTo>
                    <a:pt x="189309" y="117873"/>
                  </a:moveTo>
                  <a:lnTo>
                    <a:pt x="189309" y="200781"/>
                  </a:lnTo>
                  <a:lnTo>
                    <a:pt x="217046" y="213757"/>
                  </a:lnTo>
                  <a:lnTo>
                    <a:pt x="217046" y="178071"/>
                  </a:lnTo>
                  <a:cubicBezTo>
                    <a:pt x="217046" y="175908"/>
                    <a:pt x="218847" y="173745"/>
                    <a:pt x="221368" y="173745"/>
                  </a:cubicBezTo>
                  <a:cubicBezTo>
                    <a:pt x="223890" y="173745"/>
                    <a:pt x="225691" y="175908"/>
                    <a:pt x="225691" y="178071"/>
                  </a:cubicBezTo>
                  <a:lnTo>
                    <a:pt x="225691" y="218083"/>
                  </a:lnTo>
                  <a:lnTo>
                    <a:pt x="246223" y="227816"/>
                  </a:lnTo>
                  <a:lnTo>
                    <a:pt x="246223" y="179873"/>
                  </a:lnTo>
                  <a:lnTo>
                    <a:pt x="189309" y="117873"/>
                  </a:lnTo>
                  <a:close/>
                  <a:moveTo>
                    <a:pt x="98896" y="117873"/>
                  </a:moveTo>
                  <a:lnTo>
                    <a:pt x="41983" y="179873"/>
                  </a:lnTo>
                  <a:lnTo>
                    <a:pt x="41983" y="227816"/>
                  </a:lnTo>
                  <a:lnTo>
                    <a:pt x="62515" y="218083"/>
                  </a:lnTo>
                  <a:lnTo>
                    <a:pt x="62515" y="178071"/>
                  </a:lnTo>
                  <a:cubicBezTo>
                    <a:pt x="62515" y="175908"/>
                    <a:pt x="64676" y="173745"/>
                    <a:pt x="66838" y="173745"/>
                  </a:cubicBezTo>
                  <a:cubicBezTo>
                    <a:pt x="68999" y="173745"/>
                    <a:pt x="71160" y="175908"/>
                    <a:pt x="71160" y="178071"/>
                  </a:cubicBezTo>
                  <a:lnTo>
                    <a:pt x="71160" y="213757"/>
                  </a:lnTo>
                  <a:lnTo>
                    <a:pt x="98896" y="200781"/>
                  </a:lnTo>
                  <a:lnTo>
                    <a:pt x="98896" y="117873"/>
                  </a:lnTo>
                  <a:close/>
                  <a:moveTo>
                    <a:pt x="144285" y="90735"/>
                  </a:moveTo>
                  <a:cubicBezTo>
                    <a:pt x="138588" y="90735"/>
                    <a:pt x="134315" y="95720"/>
                    <a:pt x="134315" y="101061"/>
                  </a:cubicBezTo>
                  <a:cubicBezTo>
                    <a:pt x="134315" y="106758"/>
                    <a:pt x="138588" y="111031"/>
                    <a:pt x="144285" y="111031"/>
                  </a:cubicBezTo>
                  <a:cubicBezTo>
                    <a:pt x="149982" y="111031"/>
                    <a:pt x="154255" y="106758"/>
                    <a:pt x="154255" y="101061"/>
                  </a:cubicBezTo>
                  <a:cubicBezTo>
                    <a:pt x="154255" y="95720"/>
                    <a:pt x="149982" y="90735"/>
                    <a:pt x="144285" y="90735"/>
                  </a:cubicBezTo>
                  <a:close/>
                  <a:moveTo>
                    <a:pt x="144285" y="82189"/>
                  </a:moveTo>
                  <a:cubicBezTo>
                    <a:pt x="154967" y="82189"/>
                    <a:pt x="163157" y="90735"/>
                    <a:pt x="163157" y="101061"/>
                  </a:cubicBezTo>
                  <a:cubicBezTo>
                    <a:pt x="163157" y="111387"/>
                    <a:pt x="154967" y="119933"/>
                    <a:pt x="144285" y="119933"/>
                  </a:cubicBezTo>
                  <a:cubicBezTo>
                    <a:pt x="133959" y="119933"/>
                    <a:pt x="125413" y="111387"/>
                    <a:pt x="125413" y="101061"/>
                  </a:cubicBezTo>
                  <a:cubicBezTo>
                    <a:pt x="125413" y="90735"/>
                    <a:pt x="133959" y="82189"/>
                    <a:pt x="144285" y="82189"/>
                  </a:cubicBezTo>
                  <a:close/>
                  <a:moveTo>
                    <a:pt x="111144" y="62721"/>
                  </a:moveTo>
                  <a:cubicBezTo>
                    <a:pt x="108982" y="70291"/>
                    <a:pt x="107542" y="77861"/>
                    <a:pt x="107542" y="86151"/>
                  </a:cubicBezTo>
                  <a:lnTo>
                    <a:pt x="107542" y="198978"/>
                  </a:lnTo>
                  <a:lnTo>
                    <a:pt x="180664" y="198978"/>
                  </a:lnTo>
                  <a:lnTo>
                    <a:pt x="180664" y="86151"/>
                  </a:lnTo>
                  <a:cubicBezTo>
                    <a:pt x="180664" y="77861"/>
                    <a:pt x="179223" y="70291"/>
                    <a:pt x="176702" y="62721"/>
                  </a:cubicBezTo>
                  <a:lnTo>
                    <a:pt x="111144" y="62721"/>
                  </a:lnTo>
                  <a:close/>
                  <a:moveTo>
                    <a:pt x="143923" y="10453"/>
                  </a:moveTo>
                  <a:cubicBezTo>
                    <a:pt x="137799" y="16581"/>
                    <a:pt x="123031" y="32802"/>
                    <a:pt x="114386" y="53709"/>
                  </a:cubicBezTo>
                  <a:lnTo>
                    <a:pt x="173820" y="53709"/>
                  </a:lnTo>
                  <a:cubicBezTo>
                    <a:pt x="164815" y="32802"/>
                    <a:pt x="150407" y="16581"/>
                    <a:pt x="143923" y="10453"/>
                  </a:cubicBezTo>
                  <a:close/>
                  <a:moveTo>
                    <a:pt x="141041" y="1081"/>
                  </a:moveTo>
                  <a:cubicBezTo>
                    <a:pt x="142842" y="-361"/>
                    <a:pt x="145364" y="-361"/>
                    <a:pt x="146804" y="1081"/>
                  </a:cubicBezTo>
                  <a:cubicBezTo>
                    <a:pt x="148606" y="2523"/>
                    <a:pt x="189309" y="39651"/>
                    <a:pt x="189309" y="86151"/>
                  </a:cubicBezTo>
                  <a:lnTo>
                    <a:pt x="189309" y="104896"/>
                  </a:lnTo>
                  <a:lnTo>
                    <a:pt x="253787" y="175187"/>
                  </a:lnTo>
                  <a:cubicBezTo>
                    <a:pt x="254868" y="175908"/>
                    <a:pt x="255228" y="176990"/>
                    <a:pt x="255228" y="178071"/>
                  </a:cubicBezTo>
                  <a:lnTo>
                    <a:pt x="255228" y="234665"/>
                  </a:lnTo>
                  <a:cubicBezTo>
                    <a:pt x="255228" y="236107"/>
                    <a:pt x="254147" y="237548"/>
                    <a:pt x="253067" y="238269"/>
                  </a:cubicBezTo>
                  <a:cubicBezTo>
                    <a:pt x="251986" y="238630"/>
                    <a:pt x="251626" y="238990"/>
                    <a:pt x="250545" y="238990"/>
                  </a:cubicBezTo>
                  <a:cubicBezTo>
                    <a:pt x="250185" y="238990"/>
                    <a:pt x="249465" y="238990"/>
                    <a:pt x="248744" y="238630"/>
                  </a:cubicBezTo>
                  <a:lnTo>
                    <a:pt x="183906" y="207629"/>
                  </a:lnTo>
                  <a:lnTo>
                    <a:pt x="103939" y="207629"/>
                  </a:lnTo>
                  <a:lnTo>
                    <a:pt x="39462" y="238630"/>
                  </a:lnTo>
                  <a:cubicBezTo>
                    <a:pt x="39101" y="238990"/>
                    <a:pt x="38381" y="238990"/>
                    <a:pt x="37661" y="238990"/>
                  </a:cubicBezTo>
                  <a:cubicBezTo>
                    <a:pt x="36580" y="238990"/>
                    <a:pt x="35860" y="238990"/>
                    <a:pt x="35499" y="238269"/>
                  </a:cubicBezTo>
                  <a:cubicBezTo>
                    <a:pt x="34059" y="237548"/>
                    <a:pt x="33338" y="236107"/>
                    <a:pt x="33338" y="234665"/>
                  </a:cubicBezTo>
                  <a:lnTo>
                    <a:pt x="33338" y="178071"/>
                  </a:lnTo>
                  <a:cubicBezTo>
                    <a:pt x="33338" y="176990"/>
                    <a:pt x="33698" y="175908"/>
                    <a:pt x="34059" y="175187"/>
                  </a:cubicBezTo>
                  <a:lnTo>
                    <a:pt x="98896" y="104896"/>
                  </a:lnTo>
                  <a:lnTo>
                    <a:pt x="98896" y="86151"/>
                  </a:lnTo>
                  <a:cubicBezTo>
                    <a:pt x="98896" y="39651"/>
                    <a:pt x="139240" y="2523"/>
                    <a:pt x="141041" y="1081"/>
                  </a:cubicBezTo>
                  <a:close/>
                </a:path>
              </a:pathLst>
            </a:custGeom>
            <a:solidFill>
              <a:srgbClr val="006B87"/>
            </a:solidFill>
            <a:ln>
              <a:noFill/>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spTree>
    <p:extLst>
      <p:ext uri="{BB962C8B-B14F-4D97-AF65-F5344CB8AC3E}">
        <p14:creationId xmlns:p14="http://schemas.microsoft.com/office/powerpoint/2010/main" val="1419641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978195" y="1515075"/>
            <a:ext cx="3210017" cy="4740445"/>
            <a:chOff x="774967" y="2049943"/>
            <a:chExt cx="3825026" cy="1816526"/>
          </a:xfrm>
          <a:effectLst>
            <a:outerShdw blurRad="63500" sx="101000" sy="101000" algn="ctr" rotWithShape="0">
              <a:prstClr val="black">
                <a:alpha val="40000"/>
              </a:prstClr>
            </a:outerShdw>
          </a:effectLst>
        </p:grpSpPr>
        <p:sp>
          <p:nvSpPr>
            <p:cNvPr id="46" name="TextBox 45"/>
            <p:cNvSpPr txBox="1"/>
            <p:nvPr/>
          </p:nvSpPr>
          <p:spPr>
            <a:xfrm>
              <a:off x="774967" y="2049943"/>
              <a:ext cx="3825026" cy="1794931"/>
            </a:xfrm>
            <a:prstGeom prst="rect">
              <a:avLst/>
            </a:prstGeom>
            <a:solidFill>
              <a:srgbClr val="F2F2F2"/>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48" name="Rectangle 47"/>
            <p:cNvSpPr/>
            <p:nvPr/>
          </p:nvSpPr>
          <p:spPr>
            <a:xfrm>
              <a:off x="774967" y="3844874"/>
              <a:ext cx="3825026" cy="21595"/>
            </a:xfrm>
            <a:prstGeom prst="rect">
              <a:avLst/>
            </a:prstGeom>
            <a:solidFill>
              <a:srgbClr val="006B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50" name="Group 49"/>
          <p:cNvGrpSpPr/>
          <p:nvPr/>
        </p:nvGrpSpPr>
        <p:grpSpPr>
          <a:xfrm>
            <a:off x="4593080" y="1515075"/>
            <a:ext cx="3017520" cy="4740445"/>
            <a:chOff x="774967" y="2049943"/>
            <a:chExt cx="3825026" cy="1816526"/>
          </a:xfrm>
          <a:effectLst>
            <a:outerShdw blurRad="63500" sx="101000" sy="101000" algn="ctr" rotWithShape="0">
              <a:prstClr val="black">
                <a:alpha val="40000"/>
              </a:prstClr>
            </a:outerShdw>
          </a:effectLst>
        </p:grpSpPr>
        <p:sp>
          <p:nvSpPr>
            <p:cNvPr id="51" name="TextBox 50"/>
            <p:cNvSpPr txBox="1"/>
            <p:nvPr/>
          </p:nvSpPr>
          <p:spPr>
            <a:xfrm>
              <a:off x="774967" y="2049943"/>
              <a:ext cx="3825026" cy="1794931"/>
            </a:xfrm>
            <a:prstGeom prst="rect">
              <a:avLst/>
            </a:prstGeom>
            <a:solidFill>
              <a:srgbClr val="F2F2F2"/>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52" name="Rectangle 51"/>
            <p:cNvSpPr/>
            <p:nvPr/>
          </p:nvSpPr>
          <p:spPr>
            <a:xfrm>
              <a:off x="774967" y="3844874"/>
              <a:ext cx="3825026" cy="21595"/>
            </a:xfrm>
            <a:prstGeom prst="rect">
              <a:avLst/>
            </a:prstGeom>
            <a:solidFill>
              <a:srgbClr val="006B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53" name="Group 52"/>
          <p:cNvGrpSpPr/>
          <p:nvPr/>
        </p:nvGrpSpPr>
        <p:grpSpPr>
          <a:xfrm>
            <a:off x="8015468" y="1515075"/>
            <a:ext cx="3017520" cy="4740445"/>
            <a:chOff x="774967" y="2049943"/>
            <a:chExt cx="3825026" cy="1816526"/>
          </a:xfrm>
          <a:effectLst>
            <a:outerShdw blurRad="63500" sx="101000" sy="101000" algn="ctr" rotWithShape="0">
              <a:prstClr val="black">
                <a:alpha val="40000"/>
              </a:prstClr>
            </a:outerShdw>
          </a:effectLst>
        </p:grpSpPr>
        <p:sp>
          <p:nvSpPr>
            <p:cNvPr id="55" name="TextBox 54"/>
            <p:cNvSpPr txBox="1"/>
            <p:nvPr/>
          </p:nvSpPr>
          <p:spPr>
            <a:xfrm>
              <a:off x="774967" y="2049943"/>
              <a:ext cx="3825026" cy="1794931"/>
            </a:xfrm>
            <a:prstGeom prst="rect">
              <a:avLst/>
            </a:prstGeom>
            <a:solidFill>
              <a:srgbClr val="F2F2F2"/>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56" name="Rectangle 55"/>
            <p:cNvSpPr/>
            <p:nvPr/>
          </p:nvSpPr>
          <p:spPr>
            <a:xfrm>
              <a:off x="774967" y="3844874"/>
              <a:ext cx="3825026" cy="21595"/>
            </a:xfrm>
            <a:prstGeom prst="rect">
              <a:avLst/>
            </a:prstGeom>
            <a:solidFill>
              <a:srgbClr val="006B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5" name="Rectangle 4"/>
          <p:cNvSpPr/>
          <p:nvPr/>
        </p:nvSpPr>
        <p:spPr>
          <a:xfrm>
            <a:off x="978194" y="3048743"/>
            <a:ext cx="3210016" cy="2360711"/>
          </a:xfrm>
          <a:prstGeom prst="rect">
            <a:avLst/>
          </a:prstGeom>
        </p:spPr>
        <p:txBody>
          <a:bodyPr wrap="square">
            <a:spAutoFit/>
          </a:bodyPr>
          <a:lstStyle/>
          <a:p>
            <a:pPr marL="182880" indent="-182880">
              <a:lnSpc>
                <a:spcPct val="110000"/>
              </a:lnSpc>
              <a:spcBef>
                <a:spcPts val="600"/>
              </a:spcBef>
              <a:buFont typeface="Arial" panose="020B0604020202020204" pitchFamily="34" charset="0"/>
              <a:buChar char="•"/>
            </a:pPr>
            <a:r>
              <a:rPr lang="es-ES" sz="1400" b="1" dirty="0">
                <a:latin typeface="Arial" panose="020B0604020202020204" pitchFamily="34" charset="0"/>
                <a:ea typeface="Times New Roman" panose="02020603050405020304" pitchFamily="18" charset="0"/>
                <a:cs typeface="Arial" panose="020B0604020202020204" pitchFamily="34" charset="0"/>
              </a:rPr>
              <a:t>+75% de penetración </a:t>
            </a:r>
            <a:r>
              <a:rPr lang="es-ES" sz="1400" dirty="0">
                <a:latin typeface="Arial" panose="020B0604020202020204" pitchFamily="34" charset="0"/>
                <a:ea typeface="Times New Roman" panose="02020603050405020304" pitchFamily="18" charset="0"/>
                <a:cs typeface="Arial" panose="020B0604020202020204" pitchFamily="34" charset="0"/>
              </a:rPr>
              <a:t>en </a:t>
            </a:r>
            <a:r>
              <a:rPr lang="es-ES" sz="1400" dirty="0" err="1">
                <a:latin typeface="Arial" panose="020B0604020202020204" pitchFamily="34" charset="0"/>
                <a:ea typeface="Times New Roman" panose="02020603050405020304" pitchFamily="18" charset="0"/>
                <a:cs typeface="Arial" panose="020B0604020202020204" pitchFamily="34" charset="0"/>
              </a:rPr>
              <a:t>books</a:t>
            </a:r>
            <a:r>
              <a:rPr lang="es-ES" sz="1400" dirty="0">
                <a:latin typeface="Arial" panose="020B0604020202020204" pitchFamily="34" charset="0"/>
                <a:ea typeface="Times New Roman" panose="02020603050405020304" pitchFamily="18" charset="0"/>
                <a:cs typeface="Arial" panose="020B0604020202020204" pitchFamily="34" charset="0"/>
              </a:rPr>
              <a:t> comerciales (cobertura </a:t>
            </a:r>
            <a:r>
              <a:rPr lang="es-ES" sz="1400" dirty="0" err="1">
                <a:latin typeface="Arial" panose="020B0604020202020204" pitchFamily="34" charset="0"/>
                <a:ea typeface="Times New Roman" panose="02020603050405020304" pitchFamily="18" charset="0"/>
                <a:cs typeface="Arial" panose="020B0604020202020204" pitchFamily="34" charset="0"/>
              </a:rPr>
              <a:t>opt-out</a:t>
            </a:r>
            <a:r>
              <a:rPr lang="es-ES" sz="900" dirty="0">
                <a:latin typeface="Arial" panose="020B0604020202020204" pitchFamily="34" charset="0"/>
                <a:ea typeface="Times New Roman" panose="02020603050405020304" pitchFamily="18" charset="0"/>
                <a:cs typeface="Arial" panose="020B0604020202020204" pitchFamily="34" charset="0"/>
              </a:rPr>
              <a:t>)1</a:t>
            </a:r>
            <a:r>
              <a:rPr lang="es-ES" sz="1400" b="1" dirty="0">
                <a:latin typeface="Arial" panose="020B0604020202020204" pitchFamily="34" charset="0"/>
                <a:ea typeface="Times New Roman" panose="02020603050405020304" pitchFamily="18" charset="0"/>
                <a:cs typeface="Arial" panose="020B0604020202020204" pitchFamily="34" charset="0"/>
              </a:rPr>
              <a:t>
15-25% de penetración en </a:t>
            </a:r>
            <a:r>
              <a:rPr lang="es-ES" sz="1400" b="1" dirty="0" err="1">
                <a:latin typeface="Arial" panose="020B0604020202020204" pitchFamily="34" charset="0"/>
                <a:ea typeface="Times New Roman" panose="02020603050405020304" pitchFamily="18" charset="0"/>
                <a:cs typeface="Arial" panose="020B0604020202020204" pitchFamily="34" charset="0"/>
              </a:rPr>
              <a:t>books</a:t>
            </a:r>
            <a:r>
              <a:rPr lang="es-ES" sz="1400" b="1" dirty="0">
                <a:latin typeface="Arial" panose="020B0604020202020204" pitchFamily="34" charset="0"/>
                <a:ea typeface="Times New Roman" panose="02020603050405020304" pitchFamily="18" charset="0"/>
                <a:cs typeface="Arial" panose="020B0604020202020204" pitchFamily="34" charset="0"/>
              </a:rPr>
              <a:t> de líneas personales/hogar  (</a:t>
            </a:r>
            <a:r>
              <a:rPr lang="es-ES" sz="1400" dirty="0">
                <a:latin typeface="Arial" panose="020B0604020202020204" pitchFamily="34" charset="0"/>
                <a:ea typeface="Times New Roman" panose="02020603050405020304" pitchFamily="18" charset="0"/>
                <a:cs typeface="Arial" panose="020B0604020202020204" pitchFamily="34" charset="0"/>
              </a:rPr>
              <a:t>cobertura </a:t>
            </a:r>
            <a:r>
              <a:rPr lang="es-ES" sz="1400" dirty="0" err="1">
                <a:latin typeface="Arial" panose="020B0604020202020204" pitchFamily="34" charset="0"/>
                <a:ea typeface="Times New Roman" panose="02020603050405020304" pitchFamily="18" charset="0"/>
                <a:cs typeface="Arial" panose="020B0604020202020204" pitchFamily="34" charset="0"/>
              </a:rPr>
              <a:t>opt</a:t>
            </a:r>
            <a:r>
              <a:rPr lang="es-ES" sz="1400" dirty="0">
                <a:latin typeface="Arial" panose="020B0604020202020204" pitchFamily="34" charset="0"/>
                <a:ea typeface="Times New Roman" panose="02020603050405020304" pitchFamily="18" charset="0"/>
                <a:cs typeface="Arial" panose="020B0604020202020204" pitchFamily="34" charset="0"/>
              </a:rPr>
              <a:t>-in) con una prima cibernética </a:t>
            </a:r>
            <a:r>
              <a:rPr lang="es-ES" sz="1400" b="1" dirty="0">
                <a:latin typeface="Arial" panose="020B0604020202020204" pitchFamily="34" charset="0"/>
                <a:ea typeface="Times New Roman" panose="02020603050405020304" pitchFamily="18" charset="0"/>
                <a:cs typeface="Arial" panose="020B0604020202020204" pitchFamily="34" charset="0"/>
              </a:rPr>
              <a:t>
</a:t>
            </a:r>
            <a:r>
              <a:rPr lang="es-ES" sz="1400" dirty="0">
                <a:latin typeface="Arial" panose="020B0604020202020204" pitchFamily="34" charset="0"/>
                <a:ea typeface="Times New Roman" panose="02020603050405020304" pitchFamily="18" charset="0"/>
                <a:cs typeface="Arial" panose="020B0604020202020204" pitchFamily="34" charset="0"/>
              </a:rPr>
              <a:t>Oportunidades de venta cruzada y paquetes con opciones de cobertura adicionales</a:t>
            </a:r>
            <a:endParaRPr lang="en-US" sz="1400" dirty="0">
              <a:latin typeface="Arial" panose="020B0604020202020204" pitchFamily="34" charset="0"/>
              <a:cs typeface="Arial" panose="020B0604020202020204" pitchFamily="34" charset="0"/>
            </a:endParaRPr>
          </a:p>
        </p:txBody>
      </p:sp>
      <p:sp>
        <p:nvSpPr>
          <p:cNvPr id="45" name="Rectangle 44"/>
          <p:cNvSpPr/>
          <p:nvPr/>
        </p:nvSpPr>
        <p:spPr>
          <a:xfrm>
            <a:off x="4593078" y="3048743"/>
            <a:ext cx="3017521" cy="2231765"/>
          </a:xfrm>
          <a:prstGeom prst="rect">
            <a:avLst/>
          </a:prstGeom>
        </p:spPr>
        <p:txBody>
          <a:bodyPr wrap="square">
            <a:spAutoFit/>
          </a:bodyPr>
          <a:lstStyle/>
          <a:p>
            <a:pPr marL="182880" indent="-182880">
              <a:lnSpc>
                <a:spcPct val="110000"/>
              </a:lnSpc>
              <a:spcBef>
                <a:spcPts val="600"/>
              </a:spcBef>
              <a:buFont typeface="Arial" panose="020B0604020202020204" pitchFamily="34" charset="0"/>
              <a:buChar char="•"/>
            </a:pPr>
            <a:r>
              <a:rPr lang="es-ES" sz="1600" b="1" dirty="0">
                <a:latin typeface="Arial" panose="020B0604020202020204" pitchFamily="34" charset="0"/>
                <a:ea typeface="Times New Roman" panose="02020603050405020304" pitchFamily="18" charset="0"/>
                <a:cs typeface="Arial" panose="020B0604020202020204" pitchFamily="34" charset="0"/>
              </a:rPr>
              <a:t>Aumento de 2-3 puntos porcentuales en las tasas de retención </a:t>
            </a:r>
            <a:r>
              <a:rPr lang="es-ES" sz="1600" dirty="0">
                <a:latin typeface="Arial" panose="020B0604020202020204" pitchFamily="34" charset="0"/>
                <a:ea typeface="Times New Roman" panose="02020603050405020304" pitchFamily="18" charset="0"/>
                <a:cs typeface="Arial" panose="020B0604020202020204" pitchFamily="34" charset="0"/>
              </a:rPr>
              <a:t>donde se proporciona cobertura cibernética en comparación con aquellos sin cobertura cibernética</a:t>
            </a:r>
            <a:r>
              <a:rPr lang="es-ES" sz="900" dirty="0">
                <a:latin typeface="Arial" panose="020B0604020202020204" pitchFamily="34" charset="0"/>
                <a:ea typeface="Times New Roman" panose="02020603050405020304" pitchFamily="18" charset="0"/>
                <a:cs typeface="Arial" panose="020B0604020202020204" pitchFamily="34" charset="0"/>
              </a:rPr>
              <a:t>1</a:t>
            </a:r>
            <a:r>
              <a:rPr lang="es-ES" sz="1600" b="1" dirty="0">
                <a:latin typeface="Arial" panose="020B0604020202020204" pitchFamily="34" charset="0"/>
                <a:ea typeface="Times New Roman" panose="02020603050405020304" pitchFamily="18" charset="0"/>
                <a:cs typeface="Arial" panose="020B0604020202020204" pitchFamily="34" charset="0"/>
              </a:rPr>
              <a:t>
</a:t>
            </a:r>
            <a:endParaRPr lang="en-US" sz="1600" baseline="30000" dirty="0">
              <a:latin typeface="Arial" panose="020B0604020202020204" pitchFamily="34" charset="0"/>
              <a:cs typeface="Arial" panose="020B0604020202020204" pitchFamily="34" charset="0"/>
            </a:endParaRPr>
          </a:p>
        </p:txBody>
      </p:sp>
      <p:sp>
        <p:nvSpPr>
          <p:cNvPr id="47" name="Rectangle 46"/>
          <p:cNvSpPr/>
          <p:nvPr/>
        </p:nvSpPr>
        <p:spPr>
          <a:xfrm>
            <a:off x="8015467" y="3048743"/>
            <a:ext cx="3017521" cy="3087512"/>
          </a:xfrm>
          <a:prstGeom prst="rect">
            <a:avLst/>
          </a:prstGeom>
        </p:spPr>
        <p:txBody>
          <a:bodyPr wrap="square">
            <a:spAutoFit/>
          </a:bodyPr>
          <a:lstStyle/>
          <a:p>
            <a:pPr marL="182880" indent="-182880">
              <a:lnSpc>
                <a:spcPct val="110000"/>
              </a:lnSpc>
              <a:spcBef>
                <a:spcPts val="600"/>
              </a:spcBef>
              <a:buFont typeface="Arial" panose="020B0604020202020204" pitchFamily="34" charset="0"/>
              <a:buChar char="•"/>
            </a:pPr>
            <a:r>
              <a:rPr lang="es-ES" sz="1600" dirty="0">
                <a:latin typeface="Arial" panose="020B0604020202020204" pitchFamily="34" charset="0"/>
                <a:ea typeface="Times New Roman" panose="02020603050405020304" pitchFamily="18" charset="0"/>
                <a:cs typeface="Arial" panose="020B0604020202020204" pitchFamily="34" charset="0"/>
              </a:rPr>
              <a:t>Diferenciador de producto
Ventaja de ser el primero en el mercado 
Solución de riesgos emergentes
Conexión digital con el asegurado con herramientas de gestión de riesgos y educación
</a:t>
            </a:r>
            <a:endParaRPr lang="en-US" sz="1600" dirty="0">
              <a:latin typeface="Arial" panose="020B0604020202020204" pitchFamily="34" charset="0"/>
              <a:cs typeface="Arial" panose="020B0604020202020204" pitchFamily="34" charset="0"/>
            </a:endParaRPr>
          </a:p>
        </p:txBody>
      </p:sp>
      <p:sp>
        <p:nvSpPr>
          <p:cNvPr id="16" name="Oval 15"/>
          <p:cNvSpPr>
            <a:spLocks noChangeAspect="1"/>
          </p:cNvSpPr>
          <p:nvPr/>
        </p:nvSpPr>
        <p:spPr>
          <a:xfrm>
            <a:off x="2309431" y="2221609"/>
            <a:ext cx="606451" cy="606451"/>
          </a:xfrm>
          <a:prstGeom prst="ellipse">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6B87"/>
              </a:solidFill>
              <a:effectLst/>
              <a:uLnTx/>
              <a:uFillTx/>
              <a:latin typeface="Arial"/>
              <a:ea typeface="+mn-ea"/>
              <a:cs typeface="+mn-cs"/>
            </a:endParaRPr>
          </a:p>
        </p:txBody>
      </p:sp>
      <p:sp>
        <p:nvSpPr>
          <p:cNvPr id="17" name="Rectangle 16"/>
          <p:cNvSpPr/>
          <p:nvPr/>
        </p:nvSpPr>
        <p:spPr>
          <a:xfrm>
            <a:off x="978195" y="1601199"/>
            <a:ext cx="3210018" cy="707886"/>
          </a:xfrm>
          <a:prstGeom prst="rect">
            <a:avLst/>
          </a:prstGeom>
        </p:spPr>
        <p:txBody>
          <a:bodyPr wrap="square">
            <a:spAutoFit/>
          </a:bodyPr>
          <a:lstStyle/>
          <a:p>
            <a:pPr algn="ctr"/>
            <a:r>
              <a:rPr lang="en-US" sz="2000" b="1" dirty="0" err="1">
                <a:solidFill>
                  <a:srgbClr val="006B87"/>
                </a:solidFill>
                <a:latin typeface="Arial"/>
              </a:rPr>
              <a:t>Ingresos</a:t>
            </a:r>
            <a:r>
              <a:rPr lang="en-US" sz="2000" b="1" dirty="0">
                <a:solidFill>
                  <a:srgbClr val="006B87"/>
                </a:solidFill>
                <a:latin typeface="Arial"/>
              </a:rPr>
              <a:t>
</a:t>
            </a:r>
          </a:p>
        </p:txBody>
      </p:sp>
      <p:sp>
        <p:nvSpPr>
          <p:cNvPr id="18" name="Rectangle 17"/>
          <p:cNvSpPr/>
          <p:nvPr/>
        </p:nvSpPr>
        <p:spPr>
          <a:xfrm>
            <a:off x="4593077" y="1599144"/>
            <a:ext cx="3017521" cy="707886"/>
          </a:xfrm>
          <a:prstGeom prst="rect">
            <a:avLst/>
          </a:prstGeom>
        </p:spPr>
        <p:txBody>
          <a:bodyPr wrap="square">
            <a:spAutoFit/>
          </a:bodyPr>
          <a:lstStyle/>
          <a:p>
            <a:pPr algn="ctr"/>
            <a:r>
              <a:rPr lang="en-US" sz="2000" b="1" dirty="0" err="1">
                <a:solidFill>
                  <a:srgbClr val="006B87"/>
                </a:solidFill>
                <a:latin typeface="Arial"/>
              </a:rPr>
              <a:t>Retención</a:t>
            </a:r>
            <a:r>
              <a:rPr lang="en-US" sz="2000" b="1" dirty="0">
                <a:solidFill>
                  <a:srgbClr val="006B87"/>
                </a:solidFill>
                <a:latin typeface="Arial"/>
              </a:rPr>
              <a:t>
</a:t>
            </a:r>
          </a:p>
        </p:txBody>
      </p:sp>
      <p:sp>
        <p:nvSpPr>
          <p:cNvPr id="19" name="Rectangle 18"/>
          <p:cNvSpPr/>
          <p:nvPr/>
        </p:nvSpPr>
        <p:spPr>
          <a:xfrm>
            <a:off x="8015467" y="1601199"/>
            <a:ext cx="3017521" cy="707886"/>
          </a:xfrm>
          <a:prstGeom prst="rect">
            <a:avLst/>
          </a:prstGeom>
        </p:spPr>
        <p:txBody>
          <a:bodyPr wrap="square">
            <a:spAutoFit/>
          </a:bodyPr>
          <a:lstStyle/>
          <a:p>
            <a:pPr algn="ctr"/>
            <a:r>
              <a:rPr lang="en-US" sz="2000" b="1" dirty="0" err="1">
                <a:solidFill>
                  <a:srgbClr val="006B87"/>
                </a:solidFill>
                <a:latin typeface="Arial"/>
              </a:rPr>
              <a:t>Relevancia</a:t>
            </a:r>
            <a:r>
              <a:rPr lang="en-US" sz="2000" b="1" dirty="0">
                <a:solidFill>
                  <a:srgbClr val="006B87"/>
                </a:solidFill>
                <a:latin typeface="Arial"/>
              </a:rPr>
              <a:t>
</a:t>
            </a:r>
          </a:p>
        </p:txBody>
      </p:sp>
      <p:sp>
        <p:nvSpPr>
          <p:cNvPr id="21" name="Oval 20"/>
          <p:cNvSpPr>
            <a:spLocks noChangeAspect="1"/>
          </p:cNvSpPr>
          <p:nvPr/>
        </p:nvSpPr>
        <p:spPr>
          <a:xfrm>
            <a:off x="5791777" y="2220773"/>
            <a:ext cx="606451" cy="606451"/>
          </a:xfrm>
          <a:prstGeom prst="ellipse">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6B87"/>
              </a:solidFill>
              <a:effectLst/>
              <a:uLnTx/>
              <a:uFillTx/>
              <a:latin typeface="Arial"/>
              <a:ea typeface="+mn-ea"/>
              <a:cs typeface="+mn-cs"/>
            </a:endParaRPr>
          </a:p>
        </p:txBody>
      </p:sp>
      <p:sp>
        <p:nvSpPr>
          <p:cNvPr id="23" name="Oval 22"/>
          <p:cNvSpPr>
            <a:spLocks noChangeAspect="1"/>
          </p:cNvSpPr>
          <p:nvPr/>
        </p:nvSpPr>
        <p:spPr>
          <a:xfrm>
            <a:off x="9223903" y="2221610"/>
            <a:ext cx="606451" cy="606451"/>
          </a:xfrm>
          <a:prstGeom prst="ellipse">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6B87"/>
              </a:solidFill>
              <a:effectLst/>
              <a:uLnTx/>
              <a:uFillTx/>
              <a:latin typeface="Arial"/>
              <a:ea typeface="+mn-ea"/>
              <a:cs typeface="+mn-cs"/>
            </a:endParaRPr>
          </a:p>
        </p:txBody>
      </p:sp>
      <p:sp>
        <p:nvSpPr>
          <p:cNvPr id="24" name="Freeform 1043">
            <a:extLst>
              <a:ext uri="{FF2B5EF4-FFF2-40B4-BE49-F238E27FC236}">
                <a16:creationId xmlns:a16="http://schemas.microsoft.com/office/drawing/2014/main" id="{C85C50B2-32F5-0F42-9967-883511ADB532}"/>
              </a:ext>
            </a:extLst>
          </p:cNvPr>
          <p:cNvSpPr>
            <a:spLocks noChangeAspect="1" noChangeArrowheads="1"/>
          </p:cNvSpPr>
          <p:nvPr/>
        </p:nvSpPr>
        <p:spPr bwMode="auto">
          <a:xfrm>
            <a:off x="2434565" y="2351329"/>
            <a:ext cx="341253" cy="340206"/>
          </a:xfrm>
          <a:custGeom>
            <a:avLst/>
            <a:gdLst>
              <a:gd name="T0" fmla="*/ 222083 w 285392"/>
              <a:gd name="T1" fmla="*/ 3025579 h 283805"/>
              <a:gd name="T2" fmla="*/ 747957 w 285392"/>
              <a:gd name="T3" fmla="*/ 2363494 h 283805"/>
              <a:gd name="T4" fmla="*/ 46722 w 285392"/>
              <a:gd name="T5" fmla="*/ 2268906 h 283805"/>
              <a:gd name="T6" fmla="*/ 966123 w 285392"/>
              <a:gd name="T7" fmla="*/ 2316204 h 283805"/>
              <a:gd name="T8" fmla="*/ 841459 w 285392"/>
              <a:gd name="T9" fmla="*/ 2363494 h 283805"/>
              <a:gd name="T10" fmla="*/ 794721 w 285392"/>
              <a:gd name="T11" fmla="*/ 3120172 h 283805"/>
              <a:gd name="T12" fmla="*/ 124639 w 285392"/>
              <a:gd name="T13" fmla="*/ 3072882 h 283805"/>
              <a:gd name="T14" fmla="*/ 46722 w 285392"/>
              <a:gd name="T15" fmla="*/ 2363494 h 283805"/>
              <a:gd name="T16" fmla="*/ 46722 w 285392"/>
              <a:gd name="T17" fmla="*/ 2268906 h 283805"/>
              <a:gd name="T18" fmla="*/ 2366934 w 285392"/>
              <a:gd name="T19" fmla="*/ 3024816 h 283805"/>
              <a:gd name="T20" fmla="*/ 2894972 w 285392"/>
              <a:gd name="T21" fmla="*/ 1980254 h 283805"/>
              <a:gd name="T22" fmla="*/ 2194850 w 285392"/>
              <a:gd name="T23" fmla="*/ 1884942 h 283805"/>
              <a:gd name="T24" fmla="*/ 3114012 w 285392"/>
              <a:gd name="T25" fmla="*/ 1928632 h 283805"/>
              <a:gd name="T26" fmla="*/ 2988854 w 285392"/>
              <a:gd name="T27" fmla="*/ 1980254 h 283805"/>
              <a:gd name="T28" fmla="*/ 2941906 w 285392"/>
              <a:gd name="T29" fmla="*/ 3120141 h 283805"/>
              <a:gd name="T30" fmla="*/ 2273074 w 285392"/>
              <a:gd name="T31" fmla="*/ 3072491 h 283805"/>
              <a:gd name="T32" fmla="*/ 2194850 w 285392"/>
              <a:gd name="T33" fmla="*/ 1980254 h 283805"/>
              <a:gd name="T34" fmla="*/ 2194850 w 285392"/>
              <a:gd name="T35" fmla="*/ 1884942 h 283805"/>
              <a:gd name="T36" fmla="*/ 1289083 w 285392"/>
              <a:gd name="T37" fmla="*/ 3024654 h 283805"/>
              <a:gd name="T38" fmla="*/ 1821021 w 285392"/>
              <a:gd name="T39" fmla="*/ 1596462 h 283805"/>
              <a:gd name="T40" fmla="*/ 491708 w 285392"/>
              <a:gd name="T41" fmla="*/ 1590764 h 283805"/>
              <a:gd name="T42" fmla="*/ 491708 w 285392"/>
              <a:gd name="T43" fmla="*/ 1996781 h 283805"/>
              <a:gd name="T44" fmla="*/ 491708 w 285392"/>
              <a:gd name="T45" fmla="*/ 1590764 h 283805"/>
              <a:gd name="T46" fmla="*/ 1993126 w 285392"/>
              <a:gd name="T47" fmla="*/ 1500975 h 283805"/>
              <a:gd name="T48" fmla="*/ 1993126 w 285392"/>
              <a:gd name="T49" fmla="*/ 1592466 h 283805"/>
              <a:gd name="T50" fmla="*/ 1914903 w 285392"/>
              <a:gd name="T51" fmla="*/ 3072400 h 283805"/>
              <a:gd name="T52" fmla="*/ 1246057 w 285392"/>
              <a:gd name="T53" fmla="*/ 3120128 h 283805"/>
              <a:gd name="T54" fmla="*/ 1199123 w 285392"/>
              <a:gd name="T55" fmla="*/ 1592466 h 283805"/>
              <a:gd name="T56" fmla="*/ 1073951 w 285392"/>
              <a:gd name="T57" fmla="*/ 1548703 h 283805"/>
              <a:gd name="T58" fmla="*/ 491708 w 285392"/>
              <a:gd name="T59" fmla="*/ 1500975 h 283805"/>
              <a:gd name="T60" fmla="*/ 491708 w 285392"/>
              <a:gd name="T61" fmla="*/ 2090472 h 283805"/>
              <a:gd name="T62" fmla="*/ 491708 w 285392"/>
              <a:gd name="T63" fmla="*/ 1500975 h 283805"/>
              <a:gd name="T64" fmla="*/ 2364040 w 285392"/>
              <a:gd name="T65" fmla="*/ 1359367 h 283805"/>
              <a:gd name="T66" fmla="*/ 2897822 w 285392"/>
              <a:gd name="T67" fmla="*/ 1359367 h 283805"/>
              <a:gd name="T68" fmla="*/ 2632920 w 285392"/>
              <a:gd name="T69" fmla="*/ 994830 h 283805"/>
              <a:gd name="T70" fmla="*/ 2632920 w 285392"/>
              <a:gd name="T71" fmla="*/ 1723902 h 283805"/>
              <a:gd name="T72" fmla="*/ 2632920 w 285392"/>
              <a:gd name="T73" fmla="*/ 994830 h 283805"/>
              <a:gd name="T74" fmla="*/ 1988015 w 285392"/>
              <a:gd name="T75" fmla="*/ 678577 h 283805"/>
              <a:gd name="T76" fmla="*/ 1888069 w 285392"/>
              <a:gd name="T77" fmla="*/ 678577 h 283805"/>
              <a:gd name="T78" fmla="*/ 1193128 w 285392"/>
              <a:gd name="T79" fmla="*/ 628297 h 283805"/>
              <a:gd name="T80" fmla="*/ 1193128 w 285392"/>
              <a:gd name="T81" fmla="*/ 728854 h 283805"/>
              <a:gd name="T82" fmla="*/ 1193128 w 285392"/>
              <a:gd name="T83" fmla="*/ 628297 h 283805"/>
              <a:gd name="T84" fmla="*/ 1603995 w 285392"/>
              <a:gd name="T85" fmla="*/ 257310 h 283805"/>
              <a:gd name="T86" fmla="*/ 1764556 w 285392"/>
              <a:gd name="T87" fmla="*/ 428708 h 283805"/>
              <a:gd name="T88" fmla="*/ 1678398 w 285392"/>
              <a:gd name="T89" fmla="*/ 468608 h 283805"/>
              <a:gd name="T90" fmla="*/ 1427762 w 285392"/>
              <a:gd name="T91" fmla="*/ 508464 h 283805"/>
              <a:gd name="T92" fmla="*/ 1780229 w 285392"/>
              <a:gd name="T93" fmla="*/ 831447 h 283805"/>
              <a:gd name="T94" fmla="*/ 1603995 w 285392"/>
              <a:gd name="T95" fmla="*/ 1082624 h 283805"/>
              <a:gd name="T96" fmla="*/ 1510008 w 285392"/>
              <a:gd name="T97" fmla="*/ 1082624 h 283805"/>
              <a:gd name="T98" fmla="*/ 1349443 w 285392"/>
              <a:gd name="T99" fmla="*/ 907171 h 283805"/>
              <a:gd name="T100" fmla="*/ 1435592 w 285392"/>
              <a:gd name="T101" fmla="*/ 871291 h 283805"/>
              <a:gd name="T102" fmla="*/ 1686238 w 285392"/>
              <a:gd name="T103" fmla="*/ 831447 h 283805"/>
              <a:gd name="T104" fmla="*/ 1333774 w 285392"/>
              <a:gd name="T105" fmla="*/ 508464 h 283805"/>
              <a:gd name="T106" fmla="*/ 1510008 w 285392"/>
              <a:gd name="T107" fmla="*/ 257310 h 283805"/>
              <a:gd name="T108" fmla="*/ 1556994 w 285392"/>
              <a:gd name="T109" fmla="*/ 94981 h 283805"/>
              <a:gd name="T110" fmla="*/ 1556994 w 285392"/>
              <a:gd name="T111" fmla="*/ 1262395 h 283805"/>
              <a:gd name="T112" fmla="*/ 1556994 w 285392"/>
              <a:gd name="T113" fmla="*/ 94981 h 283805"/>
              <a:gd name="T114" fmla="*/ 2230588 w 285392"/>
              <a:gd name="T115" fmla="*/ 676723 h 283805"/>
              <a:gd name="T116" fmla="*/ 883415 w 285392"/>
              <a:gd name="T117" fmla="*/ 676723 h 2838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5392" h="283805">
                <a:moveTo>
                  <a:pt x="20351" y="214978"/>
                </a:moveTo>
                <a:lnTo>
                  <a:pt x="20351" y="275201"/>
                </a:lnTo>
                <a:lnTo>
                  <a:pt x="68549" y="275201"/>
                </a:lnTo>
                <a:lnTo>
                  <a:pt x="68549" y="214978"/>
                </a:lnTo>
                <a:lnTo>
                  <a:pt x="20351" y="214978"/>
                </a:lnTo>
                <a:close/>
                <a:moveTo>
                  <a:pt x="4284" y="206375"/>
                </a:moveTo>
                <a:lnTo>
                  <a:pt x="84259" y="206375"/>
                </a:lnTo>
                <a:cubicBezTo>
                  <a:pt x="86401" y="206375"/>
                  <a:pt x="88543" y="208526"/>
                  <a:pt x="88543" y="210677"/>
                </a:cubicBezTo>
                <a:cubicBezTo>
                  <a:pt x="88543" y="213186"/>
                  <a:pt x="86401" y="214978"/>
                  <a:pt x="84259" y="214978"/>
                </a:cubicBezTo>
                <a:lnTo>
                  <a:pt x="77118" y="214978"/>
                </a:lnTo>
                <a:lnTo>
                  <a:pt x="77118" y="279503"/>
                </a:lnTo>
                <a:cubicBezTo>
                  <a:pt x="77118" y="281654"/>
                  <a:pt x="75333" y="283805"/>
                  <a:pt x="72834" y="283805"/>
                </a:cubicBezTo>
                <a:lnTo>
                  <a:pt x="15709" y="283805"/>
                </a:lnTo>
                <a:cubicBezTo>
                  <a:pt x="13567" y="283805"/>
                  <a:pt x="11425" y="281654"/>
                  <a:pt x="11425" y="279503"/>
                </a:cubicBezTo>
                <a:lnTo>
                  <a:pt x="11425" y="214978"/>
                </a:lnTo>
                <a:lnTo>
                  <a:pt x="4284" y="214978"/>
                </a:lnTo>
                <a:cubicBezTo>
                  <a:pt x="2142" y="214978"/>
                  <a:pt x="0" y="213186"/>
                  <a:pt x="0" y="210677"/>
                </a:cubicBezTo>
                <a:cubicBezTo>
                  <a:pt x="0" y="208526"/>
                  <a:pt x="2142" y="206375"/>
                  <a:pt x="4284" y="206375"/>
                </a:cubicBezTo>
                <a:close/>
                <a:moveTo>
                  <a:pt x="216924" y="180120"/>
                </a:moveTo>
                <a:lnTo>
                  <a:pt x="216924" y="275132"/>
                </a:lnTo>
                <a:lnTo>
                  <a:pt x="265317" y="275132"/>
                </a:lnTo>
                <a:lnTo>
                  <a:pt x="265317" y="180120"/>
                </a:lnTo>
                <a:lnTo>
                  <a:pt x="216924" y="180120"/>
                </a:lnTo>
                <a:close/>
                <a:moveTo>
                  <a:pt x="201152" y="171450"/>
                </a:moveTo>
                <a:lnTo>
                  <a:pt x="281090" y="171450"/>
                </a:lnTo>
                <a:cubicBezTo>
                  <a:pt x="283599" y="171450"/>
                  <a:pt x="285392" y="173256"/>
                  <a:pt x="285392" y="175424"/>
                </a:cubicBezTo>
                <a:cubicBezTo>
                  <a:pt x="285392" y="177953"/>
                  <a:pt x="283599" y="180120"/>
                  <a:pt x="281090" y="180120"/>
                </a:cubicBezTo>
                <a:lnTo>
                  <a:pt x="273921" y="180120"/>
                </a:lnTo>
                <a:lnTo>
                  <a:pt x="273921" y="279467"/>
                </a:lnTo>
                <a:cubicBezTo>
                  <a:pt x="273921" y="281634"/>
                  <a:pt x="272128" y="283802"/>
                  <a:pt x="269619" y="283802"/>
                </a:cubicBezTo>
                <a:lnTo>
                  <a:pt x="212623" y="283802"/>
                </a:lnTo>
                <a:cubicBezTo>
                  <a:pt x="210113" y="283802"/>
                  <a:pt x="208321" y="281634"/>
                  <a:pt x="208321" y="279467"/>
                </a:cubicBezTo>
                <a:lnTo>
                  <a:pt x="208321" y="180120"/>
                </a:lnTo>
                <a:lnTo>
                  <a:pt x="201152" y="180120"/>
                </a:lnTo>
                <a:cubicBezTo>
                  <a:pt x="198642" y="180120"/>
                  <a:pt x="196850" y="177953"/>
                  <a:pt x="196850" y="175424"/>
                </a:cubicBezTo>
                <a:cubicBezTo>
                  <a:pt x="196850" y="173256"/>
                  <a:pt x="198642" y="171450"/>
                  <a:pt x="201152" y="171450"/>
                </a:cubicBezTo>
                <a:close/>
                <a:moveTo>
                  <a:pt x="118141" y="145210"/>
                </a:moveTo>
                <a:lnTo>
                  <a:pt x="118141" y="275117"/>
                </a:lnTo>
                <a:lnTo>
                  <a:pt x="166892" y="275117"/>
                </a:lnTo>
                <a:lnTo>
                  <a:pt x="166892" y="145210"/>
                </a:lnTo>
                <a:lnTo>
                  <a:pt x="118141" y="145210"/>
                </a:lnTo>
                <a:close/>
                <a:moveTo>
                  <a:pt x="45062" y="144692"/>
                </a:moveTo>
                <a:cubicBezTo>
                  <a:pt x="34530" y="144692"/>
                  <a:pt x="26178" y="153215"/>
                  <a:pt x="26178" y="163513"/>
                </a:cubicBezTo>
                <a:cubicBezTo>
                  <a:pt x="26178" y="173455"/>
                  <a:pt x="34530" y="181623"/>
                  <a:pt x="45062" y="181623"/>
                </a:cubicBezTo>
                <a:cubicBezTo>
                  <a:pt x="55593" y="181623"/>
                  <a:pt x="63946" y="173455"/>
                  <a:pt x="63946" y="163513"/>
                </a:cubicBezTo>
                <a:cubicBezTo>
                  <a:pt x="63946" y="153215"/>
                  <a:pt x="55593" y="144692"/>
                  <a:pt x="45062" y="144692"/>
                </a:cubicBezTo>
                <a:close/>
                <a:moveTo>
                  <a:pt x="102727" y="136525"/>
                </a:moveTo>
                <a:lnTo>
                  <a:pt x="182665" y="136525"/>
                </a:lnTo>
                <a:cubicBezTo>
                  <a:pt x="185174" y="136525"/>
                  <a:pt x="186967" y="138334"/>
                  <a:pt x="186967" y="140867"/>
                </a:cubicBezTo>
                <a:cubicBezTo>
                  <a:pt x="186967" y="143039"/>
                  <a:pt x="185174" y="144848"/>
                  <a:pt x="182665" y="144848"/>
                </a:cubicBezTo>
                <a:lnTo>
                  <a:pt x="175496" y="144848"/>
                </a:lnTo>
                <a:lnTo>
                  <a:pt x="175496" y="279459"/>
                </a:lnTo>
                <a:cubicBezTo>
                  <a:pt x="175496" y="281630"/>
                  <a:pt x="173703" y="283801"/>
                  <a:pt x="171194" y="283801"/>
                </a:cubicBezTo>
                <a:lnTo>
                  <a:pt x="114198" y="283801"/>
                </a:lnTo>
                <a:cubicBezTo>
                  <a:pt x="111688" y="283801"/>
                  <a:pt x="109896" y="281630"/>
                  <a:pt x="109896" y="279459"/>
                </a:cubicBezTo>
                <a:lnTo>
                  <a:pt x="109896" y="144848"/>
                </a:lnTo>
                <a:lnTo>
                  <a:pt x="102727" y="144848"/>
                </a:lnTo>
                <a:cubicBezTo>
                  <a:pt x="100217" y="144848"/>
                  <a:pt x="98425" y="143039"/>
                  <a:pt x="98425" y="140867"/>
                </a:cubicBezTo>
                <a:cubicBezTo>
                  <a:pt x="98425" y="138334"/>
                  <a:pt x="100217" y="136525"/>
                  <a:pt x="102727" y="136525"/>
                </a:cubicBezTo>
                <a:close/>
                <a:moveTo>
                  <a:pt x="45062" y="136525"/>
                </a:moveTo>
                <a:cubicBezTo>
                  <a:pt x="60315" y="136525"/>
                  <a:pt x="72662" y="148598"/>
                  <a:pt x="72662" y="163513"/>
                </a:cubicBezTo>
                <a:cubicBezTo>
                  <a:pt x="72662" y="178072"/>
                  <a:pt x="60315" y="190145"/>
                  <a:pt x="45062" y="190145"/>
                </a:cubicBezTo>
                <a:cubicBezTo>
                  <a:pt x="29809" y="190145"/>
                  <a:pt x="17462" y="178072"/>
                  <a:pt x="17462" y="163513"/>
                </a:cubicBezTo>
                <a:cubicBezTo>
                  <a:pt x="17462" y="148598"/>
                  <a:pt x="29809" y="136525"/>
                  <a:pt x="45062" y="136525"/>
                </a:cubicBezTo>
                <a:close/>
                <a:moveTo>
                  <a:pt x="241300" y="99138"/>
                </a:moveTo>
                <a:cubicBezTo>
                  <a:pt x="227530" y="99138"/>
                  <a:pt x="216659" y="110310"/>
                  <a:pt x="216659" y="123645"/>
                </a:cubicBezTo>
                <a:cubicBezTo>
                  <a:pt x="216659" y="136980"/>
                  <a:pt x="227530" y="148153"/>
                  <a:pt x="241300" y="148153"/>
                </a:cubicBezTo>
                <a:cubicBezTo>
                  <a:pt x="254707" y="148153"/>
                  <a:pt x="265578" y="136980"/>
                  <a:pt x="265578" y="123645"/>
                </a:cubicBezTo>
                <a:cubicBezTo>
                  <a:pt x="265578" y="110310"/>
                  <a:pt x="254707" y="99138"/>
                  <a:pt x="241300" y="99138"/>
                </a:cubicBezTo>
                <a:close/>
                <a:moveTo>
                  <a:pt x="241300" y="90488"/>
                </a:moveTo>
                <a:cubicBezTo>
                  <a:pt x="259418" y="90488"/>
                  <a:pt x="274275" y="105265"/>
                  <a:pt x="274275" y="123645"/>
                </a:cubicBezTo>
                <a:cubicBezTo>
                  <a:pt x="274275" y="142026"/>
                  <a:pt x="259418" y="156803"/>
                  <a:pt x="241300" y="156803"/>
                </a:cubicBezTo>
                <a:cubicBezTo>
                  <a:pt x="222819" y="156803"/>
                  <a:pt x="207962" y="142026"/>
                  <a:pt x="207962" y="123645"/>
                </a:cubicBezTo>
                <a:cubicBezTo>
                  <a:pt x="207962" y="105265"/>
                  <a:pt x="222819" y="90488"/>
                  <a:pt x="241300" y="90488"/>
                </a:cubicBezTo>
                <a:close/>
                <a:moveTo>
                  <a:pt x="177800" y="57150"/>
                </a:moveTo>
                <a:cubicBezTo>
                  <a:pt x="179998" y="57150"/>
                  <a:pt x="182196" y="59436"/>
                  <a:pt x="182196" y="61722"/>
                </a:cubicBezTo>
                <a:cubicBezTo>
                  <a:pt x="182196" y="64389"/>
                  <a:pt x="179998" y="66294"/>
                  <a:pt x="177800" y="66294"/>
                </a:cubicBezTo>
                <a:cubicBezTo>
                  <a:pt x="175235" y="66294"/>
                  <a:pt x="173037" y="64389"/>
                  <a:pt x="173037" y="61722"/>
                </a:cubicBezTo>
                <a:cubicBezTo>
                  <a:pt x="173037" y="59436"/>
                  <a:pt x="175235" y="57150"/>
                  <a:pt x="177800" y="57150"/>
                </a:cubicBezTo>
                <a:close/>
                <a:moveTo>
                  <a:pt x="109347" y="57150"/>
                </a:moveTo>
                <a:cubicBezTo>
                  <a:pt x="112014" y="57150"/>
                  <a:pt x="113919" y="59436"/>
                  <a:pt x="113919" y="61722"/>
                </a:cubicBezTo>
                <a:cubicBezTo>
                  <a:pt x="113919" y="64389"/>
                  <a:pt x="112014" y="66294"/>
                  <a:pt x="109347" y="66294"/>
                </a:cubicBezTo>
                <a:cubicBezTo>
                  <a:pt x="107061" y="66294"/>
                  <a:pt x="104775" y="64389"/>
                  <a:pt x="104775" y="61722"/>
                </a:cubicBezTo>
                <a:cubicBezTo>
                  <a:pt x="104775" y="59436"/>
                  <a:pt x="107061" y="57150"/>
                  <a:pt x="109347" y="57150"/>
                </a:cubicBezTo>
                <a:close/>
                <a:moveTo>
                  <a:pt x="142695" y="19050"/>
                </a:moveTo>
                <a:cubicBezTo>
                  <a:pt x="145207" y="19050"/>
                  <a:pt x="147002" y="20863"/>
                  <a:pt x="147002" y="23402"/>
                </a:cubicBezTo>
                <a:lnTo>
                  <a:pt x="147002" y="27391"/>
                </a:lnTo>
                <a:cubicBezTo>
                  <a:pt x="153462" y="28842"/>
                  <a:pt x="159205" y="33194"/>
                  <a:pt x="161717" y="38996"/>
                </a:cubicBezTo>
                <a:cubicBezTo>
                  <a:pt x="162435" y="41535"/>
                  <a:pt x="161359" y="43711"/>
                  <a:pt x="159564" y="45162"/>
                </a:cubicBezTo>
                <a:cubicBezTo>
                  <a:pt x="157052" y="45887"/>
                  <a:pt x="154539" y="44799"/>
                  <a:pt x="153821" y="42623"/>
                </a:cubicBezTo>
                <a:cubicBezTo>
                  <a:pt x="152027" y="38634"/>
                  <a:pt x="147720" y="35732"/>
                  <a:pt x="142695" y="35732"/>
                </a:cubicBezTo>
                <a:cubicBezTo>
                  <a:pt x="136235" y="35732"/>
                  <a:pt x="130851" y="40447"/>
                  <a:pt x="130851" y="46250"/>
                </a:cubicBezTo>
                <a:cubicBezTo>
                  <a:pt x="130851" y="53140"/>
                  <a:pt x="134799" y="56404"/>
                  <a:pt x="142695" y="56404"/>
                </a:cubicBezTo>
                <a:cubicBezTo>
                  <a:pt x="157769" y="56404"/>
                  <a:pt x="163153" y="66559"/>
                  <a:pt x="163153" y="75625"/>
                </a:cubicBezTo>
                <a:cubicBezTo>
                  <a:pt x="163153" y="84692"/>
                  <a:pt x="156334" y="92671"/>
                  <a:pt x="147002" y="94484"/>
                </a:cubicBezTo>
                <a:lnTo>
                  <a:pt x="147002" y="98473"/>
                </a:lnTo>
                <a:cubicBezTo>
                  <a:pt x="147002" y="101012"/>
                  <a:pt x="145207" y="102825"/>
                  <a:pt x="142695" y="102825"/>
                </a:cubicBezTo>
                <a:cubicBezTo>
                  <a:pt x="140183" y="102825"/>
                  <a:pt x="138388" y="101012"/>
                  <a:pt x="138388" y="98473"/>
                </a:cubicBezTo>
                <a:lnTo>
                  <a:pt x="138388" y="94121"/>
                </a:lnTo>
                <a:cubicBezTo>
                  <a:pt x="131569" y="93033"/>
                  <a:pt x="126185" y="88681"/>
                  <a:pt x="123673" y="82516"/>
                </a:cubicBezTo>
                <a:cubicBezTo>
                  <a:pt x="122955" y="80340"/>
                  <a:pt x="123673" y="77801"/>
                  <a:pt x="126185" y="77076"/>
                </a:cubicBezTo>
                <a:cubicBezTo>
                  <a:pt x="127980" y="75988"/>
                  <a:pt x="130851" y="77076"/>
                  <a:pt x="131569" y="79252"/>
                </a:cubicBezTo>
                <a:cubicBezTo>
                  <a:pt x="133363" y="83241"/>
                  <a:pt x="138029" y="86143"/>
                  <a:pt x="142695" y="86143"/>
                </a:cubicBezTo>
                <a:cubicBezTo>
                  <a:pt x="149155" y="86143"/>
                  <a:pt x="154539" y="81428"/>
                  <a:pt x="154539" y="75625"/>
                </a:cubicBezTo>
                <a:cubicBezTo>
                  <a:pt x="154539" y="68735"/>
                  <a:pt x="150591" y="65108"/>
                  <a:pt x="142695" y="65108"/>
                </a:cubicBezTo>
                <a:cubicBezTo>
                  <a:pt x="127621" y="65108"/>
                  <a:pt x="122237" y="55316"/>
                  <a:pt x="122237" y="46250"/>
                </a:cubicBezTo>
                <a:cubicBezTo>
                  <a:pt x="122237" y="37183"/>
                  <a:pt x="129415" y="29567"/>
                  <a:pt x="138388" y="27391"/>
                </a:cubicBezTo>
                <a:lnTo>
                  <a:pt x="138388" y="23402"/>
                </a:lnTo>
                <a:cubicBezTo>
                  <a:pt x="138388" y="20863"/>
                  <a:pt x="140183" y="19050"/>
                  <a:pt x="142695" y="19050"/>
                </a:cubicBezTo>
                <a:close/>
                <a:moveTo>
                  <a:pt x="142695" y="8639"/>
                </a:moveTo>
                <a:cubicBezTo>
                  <a:pt x="113264" y="8639"/>
                  <a:pt x="89935" y="32396"/>
                  <a:pt x="89935" y="61552"/>
                </a:cubicBezTo>
                <a:cubicBezTo>
                  <a:pt x="89935" y="90709"/>
                  <a:pt x="113264" y="114826"/>
                  <a:pt x="142695" y="114826"/>
                </a:cubicBezTo>
                <a:cubicBezTo>
                  <a:pt x="171767" y="114826"/>
                  <a:pt x="195814" y="90709"/>
                  <a:pt x="195814" y="61552"/>
                </a:cubicBezTo>
                <a:cubicBezTo>
                  <a:pt x="195814" y="32396"/>
                  <a:pt x="171767" y="8639"/>
                  <a:pt x="142695" y="8639"/>
                </a:cubicBezTo>
                <a:close/>
                <a:moveTo>
                  <a:pt x="142695" y="0"/>
                </a:moveTo>
                <a:cubicBezTo>
                  <a:pt x="176792" y="0"/>
                  <a:pt x="204428" y="27717"/>
                  <a:pt x="204428" y="61552"/>
                </a:cubicBezTo>
                <a:cubicBezTo>
                  <a:pt x="204428" y="95748"/>
                  <a:pt x="176792" y="123465"/>
                  <a:pt x="142695" y="123465"/>
                </a:cubicBezTo>
                <a:cubicBezTo>
                  <a:pt x="108957" y="123465"/>
                  <a:pt x="80962" y="95748"/>
                  <a:pt x="80962" y="61552"/>
                </a:cubicBezTo>
                <a:cubicBezTo>
                  <a:pt x="80962" y="27717"/>
                  <a:pt x="108957" y="0"/>
                  <a:pt x="142695" y="0"/>
                </a:cubicBezTo>
                <a:close/>
              </a:path>
            </a:pathLst>
          </a:custGeom>
          <a:solidFill>
            <a:srgbClr val="006B87"/>
          </a:solidFill>
          <a:ln>
            <a:noFill/>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6B87"/>
              </a:solidFill>
              <a:effectLst/>
              <a:uLnTx/>
              <a:uFillTx/>
              <a:latin typeface="Lato Light" panose="020F0502020204030203" pitchFamily="34" charset="0"/>
            </a:endParaRPr>
          </a:p>
        </p:txBody>
      </p:sp>
      <p:sp>
        <p:nvSpPr>
          <p:cNvPr id="25" name="Freeform 943">
            <a:extLst>
              <a:ext uri="{FF2B5EF4-FFF2-40B4-BE49-F238E27FC236}">
                <a16:creationId xmlns:a16="http://schemas.microsoft.com/office/drawing/2014/main" id="{54CA2A0A-1967-8A46-9A67-B0F4ADE0450C}"/>
              </a:ext>
            </a:extLst>
          </p:cNvPr>
          <p:cNvSpPr>
            <a:spLocks noChangeAspect="1" noChangeArrowheads="1"/>
          </p:cNvSpPr>
          <p:nvPr/>
        </p:nvSpPr>
        <p:spPr bwMode="auto">
          <a:xfrm>
            <a:off x="5909698" y="2323960"/>
            <a:ext cx="388764" cy="388764"/>
          </a:xfrm>
          <a:custGeom>
            <a:avLst/>
            <a:gdLst>
              <a:gd name="T0" fmla="*/ 1251396 w 291740"/>
              <a:gd name="T1" fmla="*/ 2020601 h 291739"/>
              <a:gd name="T2" fmla="*/ 1150798 w 291740"/>
              <a:gd name="T3" fmla="*/ 2020601 h 291739"/>
              <a:gd name="T4" fmla="*/ 1040832 w 291740"/>
              <a:gd name="T5" fmla="*/ 1365640 h 291739"/>
              <a:gd name="T6" fmla="*/ 1326757 w 291740"/>
              <a:gd name="T7" fmla="*/ 2146330 h 291739"/>
              <a:gd name="T8" fmla="*/ 1040832 w 291740"/>
              <a:gd name="T9" fmla="*/ 1365640 h 291739"/>
              <a:gd name="T10" fmla="*/ 1592522 w 291740"/>
              <a:gd name="T11" fmla="*/ 500906 h 291739"/>
              <a:gd name="T12" fmla="*/ 548614 w 291740"/>
              <a:gd name="T13" fmla="*/ 1606171 h 291739"/>
              <a:gd name="T14" fmla="*/ 2314917 w 291740"/>
              <a:gd name="T15" fmla="*/ 2378685 h 291739"/>
              <a:gd name="T16" fmla="*/ 2382405 w 291740"/>
              <a:gd name="T17" fmla="*/ 2449994 h 291739"/>
              <a:gd name="T18" fmla="*/ 453341 w 291740"/>
              <a:gd name="T19" fmla="*/ 1606171 h 291739"/>
              <a:gd name="T20" fmla="*/ 1890637 w 291740"/>
              <a:gd name="T21" fmla="*/ 434341 h 291739"/>
              <a:gd name="T22" fmla="*/ 1811207 w 291740"/>
              <a:gd name="T23" fmla="*/ 767235 h 291739"/>
              <a:gd name="T24" fmla="*/ 1426021 w 291740"/>
              <a:gd name="T25" fmla="*/ 2146330 h 291739"/>
              <a:gd name="T26" fmla="*/ 2613367 w 291740"/>
              <a:gd name="T27" fmla="*/ 2019531 h 291739"/>
              <a:gd name="T28" fmla="*/ 2593503 w 291740"/>
              <a:gd name="T29" fmla="*/ 1916479 h 291739"/>
              <a:gd name="T30" fmla="*/ 2736453 w 291740"/>
              <a:gd name="T31" fmla="*/ 1765886 h 291739"/>
              <a:gd name="T32" fmla="*/ 2688812 w 291740"/>
              <a:gd name="T33" fmla="*/ 1639078 h 291739"/>
              <a:gd name="T34" fmla="*/ 2760285 w 291740"/>
              <a:gd name="T35" fmla="*/ 1504331 h 291739"/>
              <a:gd name="T36" fmla="*/ 2645136 w 291740"/>
              <a:gd name="T37" fmla="*/ 1365640 h 291739"/>
              <a:gd name="T38" fmla="*/ 2744390 w 291740"/>
              <a:gd name="T39" fmla="*/ 1207116 h 291739"/>
              <a:gd name="T40" fmla="*/ 2093147 w 291740"/>
              <a:gd name="T41" fmla="*/ 1096149 h 291739"/>
              <a:gd name="T42" fmla="*/ 2045506 w 291740"/>
              <a:gd name="T43" fmla="*/ 1036714 h 291739"/>
              <a:gd name="T44" fmla="*/ 1890637 w 291740"/>
              <a:gd name="T45" fmla="*/ 434341 h 291739"/>
              <a:gd name="T46" fmla="*/ 2172572 w 291740"/>
              <a:gd name="T47" fmla="*/ 715719 h 291739"/>
              <a:gd name="T48" fmla="*/ 2649091 w 291740"/>
              <a:gd name="T49" fmla="*/ 1001030 h 291739"/>
              <a:gd name="T50" fmla="*/ 2792054 w 291740"/>
              <a:gd name="T51" fmla="*/ 1357716 h 291739"/>
              <a:gd name="T52" fmla="*/ 2800006 w 291740"/>
              <a:gd name="T53" fmla="*/ 1650966 h 291739"/>
              <a:gd name="T54" fmla="*/ 2704696 w 291740"/>
              <a:gd name="T55" fmla="*/ 1964047 h 291739"/>
              <a:gd name="T56" fmla="*/ 2506146 w 291740"/>
              <a:gd name="T57" fmla="*/ 2245414 h 291739"/>
              <a:gd name="T58" fmla="*/ 989211 w 291740"/>
              <a:gd name="T59" fmla="*/ 2245414 h 291739"/>
              <a:gd name="T60" fmla="*/ 941557 w 291740"/>
              <a:gd name="T61" fmla="*/ 1314115 h 291739"/>
              <a:gd name="T62" fmla="*/ 1354556 w 291740"/>
              <a:gd name="T63" fmla="*/ 1266565 h 291739"/>
              <a:gd name="T64" fmla="*/ 1692089 w 291740"/>
              <a:gd name="T65" fmla="*/ 414542 h 291739"/>
              <a:gd name="T66" fmla="*/ 1894605 w 291740"/>
              <a:gd name="T67" fmla="*/ 335278 h 291739"/>
              <a:gd name="T68" fmla="*/ 99008 w 291740"/>
              <a:gd name="T69" fmla="*/ 1604202 h 291739"/>
              <a:gd name="T70" fmla="*/ 3105309 w 291740"/>
              <a:gd name="T71" fmla="*/ 1604202 h 291739"/>
              <a:gd name="T72" fmla="*/ 1600188 w 291740"/>
              <a:gd name="T73" fmla="*/ 0 h 291739"/>
              <a:gd name="T74" fmla="*/ 1600188 w 291740"/>
              <a:gd name="T75" fmla="*/ 3204428 h 291739"/>
              <a:gd name="T76" fmla="*/ 1600188 w 291740"/>
              <a:gd name="T77" fmla="*/ 0 h 2917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91740" h="291739">
                <a:moveTo>
                  <a:pt x="109171" y="179388"/>
                </a:moveTo>
                <a:cubicBezTo>
                  <a:pt x="111736" y="179388"/>
                  <a:pt x="113934" y="181674"/>
                  <a:pt x="113934" y="183960"/>
                </a:cubicBezTo>
                <a:cubicBezTo>
                  <a:pt x="113934" y="186627"/>
                  <a:pt x="111736" y="188532"/>
                  <a:pt x="109171" y="188532"/>
                </a:cubicBezTo>
                <a:cubicBezTo>
                  <a:pt x="106607" y="188532"/>
                  <a:pt x="104775" y="186627"/>
                  <a:pt x="104775" y="183960"/>
                </a:cubicBezTo>
                <a:cubicBezTo>
                  <a:pt x="104775" y="181674"/>
                  <a:pt x="106607" y="179388"/>
                  <a:pt x="109171" y="179388"/>
                </a:cubicBezTo>
                <a:close/>
                <a:moveTo>
                  <a:pt x="94763" y="124331"/>
                </a:moveTo>
                <a:lnTo>
                  <a:pt x="94763" y="195407"/>
                </a:lnTo>
                <a:lnTo>
                  <a:pt x="120795" y="195407"/>
                </a:lnTo>
                <a:lnTo>
                  <a:pt x="120795" y="124331"/>
                </a:lnTo>
                <a:lnTo>
                  <a:pt x="94763" y="124331"/>
                </a:lnTo>
                <a:close/>
                <a:moveTo>
                  <a:pt x="140655" y="41636"/>
                </a:moveTo>
                <a:cubicBezTo>
                  <a:pt x="143185" y="41275"/>
                  <a:pt x="144992" y="43439"/>
                  <a:pt x="144992" y="45603"/>
                </a:cubicBezTo>
                <a:cubicBezTo>
                  <a:pt x="145353" y="48128"/>
                  <a:pt x="143546" y="50292"/>
                  <a:pt x="141017" y="50292"/>
                </a:cubicBezTo>
                <a:cubicBezTo>
                  <a:pt x="90061" y="52816"/>
                  <a:pt x="49948" y="95015"/>
                  <a:pt x="49948" y="146230"/>
                </a:cubicBezTo>
                <a:cubicBezTo>
                  <a:pt x="49948" y="198888"/>
                  <a:pt x="92953" y="241808"/>
                  <a:pt x="145715" y="241808"/>
                </a:cubicBezTo>
                <a:cubicBezTo>
                  <a:pt x="169927" y="241808"/>
                  <a:pt x="193056" y="232791"/>
                  <a:pt x="210763" y="216561"/>
                </a:cubicBezTo>
                <a:cubicBezTo>
                  <a:pt x="212570" y="214758"/>
                  <a:pt x="215461" y="215119"/>
                  <a:pt x="217268" y="216561"/>
                </a:cubicBezTo>
                <a:cubicBezTo>
                  <a:pt x="218714" y="218725"/>
                  <a:pt x="218714" y="221250"/>
                  <a:pt x="216907" y="223053"/>
                </a:cubicBezTo>
                <a:cubicBezTo>
                  <a:pt x="197754" y="240726"/>
                  <a:pt x="172457" y="250464"/>
                  <a:pt x="145715" y="250464"/>
                </a:cubicBezTo>
                <a:cubicBezTo>
                  <a:pt x="88255" y="250464"/>
                  <a:pt x="41275" y="203577"/>
                  <a:pt x="41275" y="146230"/>
                </a:cubicBezTo>
                <a:cubicBezTo>
                  <a:pt x="41275" y="90326"/>
                  <a:pt x="84641" y="44521"/>
                  <a:pt x="140655" y="41636"/>
                </a:cubicBezTo>
                <a:close/>
                <a:moveTo>
                  <a:pt x="172134" y="39544"/>
                </a:moveTo>
                <a:cubicBezTo>
                  <a:pt x="168157" y="39183"/>
                  <a:pt x="165264" y="39544"/>
                  <a:pt x="163095" y="39904"/>
                </a:cubicBezTo>
                <a:cubicBezTo>
                  <a:pt x="164903" y="47481"/>
                  <a:pt x="167072" y="62995"/>
                  <a:pt x="164903" y="69850"/>
                </a:cubicBezTo>
                <a:cubicBezTo>
                  <a:pt x="157672" y="90777"/>
                  <a:pt x="135618" y="115311"/>
                  <a:pt x="129833" y="121444"/>
                </a:cubicBezTo>
                <a:lnTo>
                  <a:pt x="129833" y="195407"/>
                </a:lnTo>
                <a:lnTo>
                  <a:pt x="227088" y="195407"/>
                </a:lnTo>
                <a:cubicBezTo>
                  <a:pt x="233234" y="195047"/>
                  <a:pt x="237935" y="189995"/>
                  <a:pt x="237935" y="183862"/>
                </a:cubicBezTo>
                <a:cubicBezTo>
                  <a:pt x="237935" y="182058"/>
                  <a:pt x="237573" y="179893"/>
                  <a:pt x="236488" y="178450"/>
                </a:cubicBezTo>
                <a:cubicBezTo>
                  <a:pt x="235765" y="177007"/>
                  <a:pt x="235765" y="175564"/>
                  <a:pt x="236127" y="174481"/>
                </a:cubicBezTo>
                <a:cubicBezTo>
                  <a:pt x="236850" y="173038"/>
                  <a:pt x="237935" y="172316"/>
                  <a:pt x="239381" y="171956"/>
                </a:cubicBezTo>
                <a:cubicBezTo>
                  <a:pt x="245165" y="170873"/>
                  <a:pt x="249142" y="166183"/>
                  <a:pt x="249142" y="160771"/>
                </a:cubicBezTo>
                <a:cubicBezTo>
                  <a:pt x="249142" y="157885"/>
                  <a:pt x="248058" y="154998"/>
                  <a:pt x="245888" y="152833"/>
                </a:cubicBezTo>
                <a:cubicBezTo>
                  <a:pt x="244804" y="151751"/>
                  <a:pt x="244442" y="150669"/>
                  <a:pt x="244804" y="149225"/>
                </a:cubicBezTo>
                <a:cubicBezTo>
                  <a:pt x="244804" y="148143"/>
                  <a:pt x="245527" y="147061"/>
                  <a:pt x="246612" y="146339"/>
                </a:cubicBezTo>
                <a:cubicBezTo>
                  <a:pt x="249504" y="144174"/>
                  <a:pt x="251312" y="140566"/>
                  <a:pt x="251312" y="136958"/>
                </a:cubicBezTo>
                <a:cubicBezTo>
                  <a:pt x="251312" y="131186"/>
                  <a:pt x="247335" y="128660"/>
                  <a:pt x="245165" y="128660"/>
                </a:cubicBezTo>
                <a:cubicBezTo>
                  <a:pt x="242635" y="128660"/>
                  <a:pt x="240827" y="126856"/>
                  <a:pt x="240827" y="124331"/>
                </a:cubicBezTo>
                <a:cubicBezTo>
                  <a:pt x="240827" y="121805"/>
                  <a:pt x="242635" y="119640"/>
                  <a:pt x="245165" y="119640"/>
                </a:cubicBezTo>
                <a:cubicBezTo>
                  <a:pt x="245888" y="119640"/>
                  <a:pt x="249865" y="117115"/>
                  <a:pt x="249865" y="109899"/>
                </a:cubicBezTo>
                <a:cubicBezTo>
                  <a:pt x="249865" y="104126"/>
                  <a:pt x="245527" y="99796"/>
                  <a:pt x="241188" y="99796"/>
                </a:cubicBezTo>
                <a:lnTo>
                  <a:pt x="190572" y="99796"/>
                </a:lnTo>
                <a:cubicBezTo>
                  <a:pt x="189126" y="99796"/>
                  <a:pt x="188042" y="99075"/>
                  <a:pt x="186957" y="97993"/>
                </a:cubicBezTo>
                <a:cubicBezTo>
                  <a:pt x="186234" y="96910"/>
                  <a:pt x="185872" y="95467"/>
                  <a:pt x="186234" y="94385"/>
                </a:cubicBezTo>
                <a:cubicBezTo>
                  <a:pt x="187680" y="90055"/>
                  <a:pt x="190211" y="78870"/>
                  <a:pt x="189126" y="65882"/>
                </a:cubicBezTo>
                <a:cubicBezTo>
                  <a:pt x="187680" y="50728"/>
                  <a:pt x="180449" y="39544"/>
                  <a:pt x="172134" y="39544"/>
                </a:cubicBezTo>
                <a:close/>
                <a:moveTo>
                  <a:pt x="172495" y="30524"/>
                </a:moveTo>
                <a:cubicBezTo>
                  <a:pt x="185872" y="31245"/>
                  <a:pt x="195996" y="44956"/>
                  <a:pt x="197803" y="65160"/>
                </a:cubicBezTo>
                <a:cubicBezTo>
                  <a:pt x="198888" y="75623"/>
                  <a:pt x="197442" y="85004"/>
                  <a:pt x="195996" y="91137"/>
                </a:cubicBezTo>
                <a:lnTo>
                  <a:pt x="241188" y="91137"/>
                </a:lnTo>
                <a:cubicBezTo>
                  <a:pt x="250588" y="91137"/>
                  <a:pt x="258904" y="99436"/>
                  <a:pt x="258904" y="109899"/>
                </a:cubicBezTo>
                <a:cubicBezTo>
                  <a:pt x="258904" y="116032"/>
                  <a:pt x="257096" y="120362"/>
                  <a:pt x="254204" y="123609"/>
                </a:cubicBezTo>
                <a:cubicBezTo>
                  <a:pt x="257819" y="126495"/>
                  <a:pt x="259989" y="131186"/>
                  <a:pt x="259989" y="136958"/>
                </a:cubicBezTo>
                <a:cubicBezTo>
                  <a:pt x="259989" y="142010"/>
                  <a:pt x="258181" y="146700"/>
                  <a:pt x="254927" y="150308"/>
                </a:cubicBezTo>
                <a:cubicBezTo>
                  <a:pt x="257096" y="153555"/>
                  <a:pt x="257819" y="157163"/>
                  <a:pt x="257819" y="160771"/>
                </a:cubicBezTo>
                <a:cubicBezTo>
                  <a:pt x="257819" y="168348"/>
                  <a:pt x="253481" y="175564"/>
                  <a:pt x="246250" y="178811"/>
                </a:cubicBezTo>
                <a:cubicBezTo>
                  <a:pt x="246612" y="180615"/>
                  <a:pt x="246973" y="182058"/>
                  <a:pt x="246973" y="183862"/>
                </a:cubicBezTo>
                <a:cubicBezTo>
                  <a:pt x="246973" y="194325"/>
                  <a:pt x="239019" y="203345"/>
                  <a:pt x="228173" y="204427"/>
                </a:cubicBezTo>
                <a:cubicBezTo>
                  <a:pt x="227811" y="204427"/>
                  <a:pt x="227088" y="204427"/>
                  <a:pt x="226727" y="204427"/>
                </a:cubicBezTo>
                <a:lnTo>
                  <a:pt x="90063" y="204427"/>
                </a:lnTo>
                <a:cubicBezTo>
                  <a:pt x="87894" y="204427"/>
                  <a:pt x="85725" y="202262"/>
                  <a:pt x="85725" y="200098"/>
                </a:cubicBezTo>
                <a:lnTo>
                  <a:pt x="85725" y="119640"/>
                </a:lnTo>
                <a:cubicBezTo>
                  <a:pt x="85725" y="117115"/>
                  <a:pt x="87894" y="115311"/>
                  <a:pt x="90063" y="115311"/>
                </a:cubicBezTo>
                <a:lnTo>
                  <a:pt x="123326" y="115311"/>
                </a:lnTo>
                <a:cubicBezTo>
                  <a:pt x="128749" y="109538"/>
                  <a:pt x="150080" y="85725"/>
                  <a:pt x="156226" y="66964"/>
                </a:cubicBezTo>
                <a:cubicBezTo>
                  <a:pt x="158034" y="61913"/>
                  <a:pt x="155503" y="46399"/>
                  <a:pt x="154057" y="37740"/>
                </a:cubicBezTo>
                <a:cubicBezTo>
                  <a:pt x="153695" y="35936"/>
                  <a:pt x="154418" y="33771"/>
                  <a:pt x="155864" y="33049"/>
                </a:cubicBezTo>
                <a:cubicBezTo>
                  <a:pt x="156587" y="32328"/>
                  <a:pt x="161287" y="30163"/>
                  <a:pt x="172495" y="30524"/>
                </a:cubicBezTo>
                <a:close/>
                <a:moveTo>
                  <a:pt x="145690" y="9015"/>
                </a:moveTo>
                <a:cubicBezTo>
                  <a:pt x="70320" y="9015"/>
                  <a:pt x="9015" y="70320"/>
                  <a:pt x="9015" y="146050"/>
                </a:cubicBezTo>
                <a:cubicBezTo>
                  <a:pt x="9015" y="221419"/>
                  <a:pt x="70320" y="282724"/>
                  <a:pt x="145690" y="282724"/>
                </a:cubicBezTo>
                <a:cubicBezTo>
                  <a:pt x="221419" y="282724"/>
                  <a:pt x="282724" y="221419"/>
                  <a:pt x="282724" y="146050"/>
                </a:cubicBezTo>
                <a:cubicBezTo>
                  <a:pt x="282724" y="70320"/>
                  <a:pt x="221419" y="9015"/>
                  <a:pt x="145690" y="9015"/>
                </a:cubicBezTo>
                <a:close/>
                <a:moveTo>
                  <a:pt x="145690" y="0"/>
                </a:moveTo>
                <a:cubicBezTo>
                  <a:pt x="226107" y="0"/>
                  <a:pt x="291740" y="65632"/>
                  <a:pt x="291740" y="146050"/>
                </a:cubicBezTo>
                <a:cubicBezTo>
                  <a:pt x="291740" y="226107"/>
                  <a:pt x="226107" y="291739"/>
                  <a:pt x="145690" y="291739"/>
                </a:cubicBezTo>
                <a:cubicBezTo>
                  <a:pt x="65632" y="291739"/>
                  <a:pt x="0" y="226107"/>
                  <a:pt x="0" y="146050"/>
                </a:cubicBezTo>
                <a:cubicBezTo>
                  <a:pt x="0" y="65632"/>
                  <a:pt x="65632" y="0"/>
                  <a:pt x="145690" y="0"/>
                </a:cubicBezTo>
                <a:close/>
              </a:path>
            </a:pathLst>
          </a:custGeom>
          <a:solidFill>
            <a:srgbClr val="006B87"/>
          </a:solidFill>
          <a:ln>
            <a:noFill/>
          </a:ln>
          <a:effectLst/>
        </p:spPr>
        <p:txBody>
          <a:bodyPr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6B87"/>
              </a:solidFill>
              <a:effectLst/>
              <a:uLnTx/>
              <a:uFillTx/>
              <a:latin typeface="Lato Light" panose="020F0502020204030203" pitchFamily="34" charset="0"/>
            </a:endParaRPr>
          </a:p>
        </p:txBody>
      </p:sp>
      <p:sp>
        <p:nvSpPr>
          <p:cNvPr id="20" name="Freeform 1019">
            <a:extLst>
              <a:ext uri="{FF2B5EF4-FFF2-40B4-BE49-F238E27FC236}">
                <a16:creationId xmlns:a16="http://schemas.microsoft.com/office/drawing/2014/main" id="{A395E1A2-9ACF-1C40-9AC0-22F9380CC537}"/>
              </a:ext>
            </a:extLst>
          </p:cNvPr>
          <p:cNvSpPr>
            <a:spLocks noChangeAspect="1" noChangeArrowheads="1"/>
          </p:cNvSpPr>
          <p:nvPr/>
        </p:nvSpPr>
        <p:spPr bwMode="auto">
          <a:xfrm>
            <a:off x="9333025" y="2323960"/>
            <a:ext cx="398012" cy="398012"/>
          </a:xfrm>
          <a:custGeom>
            <a:avLst/>
            <a:gdLst>
              <a:gd name="T0" fmla="*/ 5693510 w 290152"/>
              <a:gd name="T1" fmla="*/ 5668307 h 289785"/>
              <a:gd name="T2" fmla="*/ 5693510 w 290152"/>
              <a:gd name="T3" fmla="*/ 5853295 h 289785"/>
              <a:gd name="T4" fmla="*/ 0 w 290152"/>
              <a:gd name="T5" fmla="*/ 5764512 h 289785"/>
              <a:gd name="T6" fmla="*/ 3349352 w 290152"/>
              <a:gd name="T7" fmla="*/ 4385669 h 289785"/>
              <a:gd name="T8" fmla="*/ 3427364 w 290152"/>
              <a:gd name="T9" fmla="*/ 5116975 h 289785"/>
              <a:gd name="T10" fmla="*/ 3831682 w 290152"/>
              <a:gd name="T11" fmla="*/ 5116975 h 289785"/>
              <a:gd name="T12" fmla="*/ 4008998 w 290152"/>
              <a:gd name="T13" fmla="*/ 5116975 h 289785"/>
              <a:gd name="T14" fmla="*/ 3257137 w 290152"/>
              <a:gd name="T15" fmla="*/ 5116975 h 289785"/>
              <a:gd name="T16" fmla="*/ 3349352 w 290152"/>
              <a:gd name="T17" fmla="*/ 4385669 h 289785"/>
              <a:gd name="T18" fmla="*/ 2965225 w 290152"/>
              <a:gd name="T19" fmla="*/ 4472560 h 289785"/>
              <a:gd name="T20" fmla="*/ 2870360 w 290152"/>
              <a:gd name="T21" fmla="*/ 5500730 h 289785"/>
              <a:gd name="T22" fmla="*/ 2782794 w 290152"/>
              <a:gd name="T23" fmla="*/ 4472560 h 289785"/>
              <a:gd name="T24" fmla="*/ 2405115 w 290152"/>
              <a:gd name="T25" fmla="*/ 4385669 h 289785"/>
              <a:gd name="T26" fmla="*/ 2491056 w 290152"/>
              <a:gd name="T27" fmla="*/ 5116975 h 289785"/>
              <a:gd name="T28" fmla="*/ 1739260 w 290152"/>
              <a:gd name="T29" fmla="*/ 5116975 h 289785"/>
              <a:gd name="T30" fmla="*/ 1911110 w 290152"/>
              <a:gd name="T31" fmla="*/ 5116975 h 289785"/>
              <a:gd name="T32" fmla="*/ 2319206 w 290152"/>
              <a:gd name="T33" fmla="*/ 5116975 h 289785"/>
              <a:gd name="T34" fmla="*/ 2405115 w 290152"/>
              <a:gd name="T35" fmla="*/ 4385669 h 289785"/>
              <a:gd name="T36" fmla="*/ 2675523 w 290152"/>
              <a:gd name="T37" fmla="*/ 3227732 h 289785"/>
              <a:gd name="T38" fmla="*/ 3072723 w 290152"/>
              <a:gd name="T39" fmla="*/ 3227732 h 289785"/>
              <a:gd name="T40" fmla="*/ 2874135 w 290152"/>
              <a:gd name="T41" fmla="*/ 2846517 h 289785"/>
              <a:gd name="T42" fmla="*/ 2874135 w 290152"/>
              <a:gd name="T43" fmla="*/ 3608904 h 289785"/>
              <a:gd name="T44" fmla="*/ 2874135 w 290152"/>
              <a:gd name="T45" fmla="*/ 2846517 h 289785"/>
              <a:gd name="T46" fmla="*/ 3771000 w 290152"/>
              <a:gd name="T47" fmla="*/ 4055540 h 289785"/>
              <a:gd name="T48" fmla="*/ 4323500 w 290152"/>
              <a:gd name="T49" fmla="*/ 3596824 h 289785"/>
              <a:gd name="T50" fmla="*/ 4495719 w 290152"/>
              <a:gd name="T51" fmla="*/ 3596824 h 289785"/>
              <a:gd name="T52" fmla="*/ 4904699 w 290152"/>
              <a:gd name="T53" fmla="*/ 4601621 h 289785"/>
              <a:gd name="T54" fmla="*/ 3771000 w 290152"/>
              <a:gd name="T55" fmla="*/ 2380887 h 289785"/>
              <a:gd name="T56" fmla="*/ 836270 w 290152"/>
              <a:gd name="T57" fmla="*/ 3633218 h 289785"/>
              <a:gd name="T58" fmla="*/ 1245277 w 290152"/>
              <a:gd name="T59" fmla="*/ 4404989 h 289785"/>
              <a:gd name="T60" fmla="*/ 1331397 w 290152"/>
              <a:gd name="T61" fmla="*/ 3509440 h 289785"/>
              <a:gd name="T62" fmla="*/ 1417512 w 290152"/>
              <a:gd name="T63" fmla="*/ 4317618 h 289785"/>
              <a:gd name="T64" fmla="*/ 1970004 w 290152"/>
              <a:gd name="T65" fmla="*/ 2380887 h 289785"/>
              <a:gd name="T66" fmla="*/ 2675523 w 290152"/>
              <a:gd name="T67" fmla="*/ 2041299 h 289785"/>
              <a:gd name="T68" fmla="*/ 3072723 w 290152"/>
              <a:gd name="T69" fmla="*/ 2041299 h 289785"/>
              <a:gd name="T70" fmla="*/ 2874135 w 290152"/>
              <a:gd name="T71" fmla="*/ 1660124 h 289785"/>
              <a:gd name="T72" fmla="*/ 2874135 w 290152"/>
              <a:gd name="T73" fmla="*/ 2422491 h 289785"/>
              <a:gd name="T74" fmla="*/ 2874135 w 290152"/>
              <a:gd name="T75" fmla="*/ 1660124 h 289785"/>
              <a:gd name="T76" fmla="*/ 2142206 w 290152"/>
              <a:gd name="T77" fmla="*/ 1740155 h 289785"/>
              <a:gd name="T78" fmla="*/ 3598788 w 290152"/>
              <a:gd name="T79" fmla="*/ 4019106 h 289785"/>
              <a:gd name="T80" fmla="*/ 3519860 w 290152"/>
              <a:gd name="T81" fmla="*/ 1266895 h 289785"/>
              <a:gd name="T82" fmla="*/ 2866918 w 290152"/>
              <a:gd name="T83" fmla="*/ 211129 h 289785"/>
              <a:gd name="T84" fmla="*/ 3462467 w 290152"/>
              <a:gd name="T85" fmla="*/ 1084861 h 289785"/>
              <a:gd name="T86" fmla="*/ 2809503 w 290152"/>
              <a:gd name="T87" fmla="*/ 21862 h 289785"/>
              <a:gd name="T88" fmla="*/ 3771000 w 290152"/>
              <a:gd name="T89" fmla="*/ 1740155 h 289785"/>
              <a:gd name="T90" fmla="*/ 5055396 w 290152"/>
              <a:gd name="T91" fmla="*/ 3538611 h 289785"/>
              <a:gd name="T92" fmla="*/ 5084102 w 290152"/>
              <a:gd name="T93" fmla="*/ 4739940 h 289785"/>
              <a:gd name="T94" fmla="*/ 4990805 w 290152"/>
              <a:gd name="T95" fmla="*/ 4827315 h 289785"/>
              <a:gd name="T96" fmla="*/ 3663364 w 290152"/>
              <a:gd name="T97" fmla="*/ 4193864 h 289785"/>
              <a:gd name="T98" fmla="*/ 786045 w 290152"/>
              <a:gd name="T99" fmla="*/ 4820047 h 289785"/>
              <a:gd name="T100" fmla="*/ 707094 w 290152"/>
              <a:gd name="T101" fmla="*/ 4812750 h 289785"/>
              <a:gd name="T102" fmla="*/ 664113 w 290152"/>
              <a:gd name="T103" fmla="*/ 3596824 h 289785"/>
              <a:gd name="T104" fmla="*/ 1970004 w 290152"/>
              <a:gd name="T105" fmla="*/ 2118756 h 289785"/>
              <a:gd name="T106" fmla="*/ 2809503 w 290152"/>
              <a:gd name="T107" fmla="*/ 21862 h 2897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89785">
                <a:moveTo>
                  <a:pt x="4331" y="280626"/>
                </a:moveTo>
                <a:lnTo>
                  <a:pt x="285822" y="280626"/>
                </a:lnTo>
                <a:cubicBezTo>
                  <a:pt x="288348" y="280626"/>
                  <a:pt x="290152" y="282458"/>
                  <a:pt x="290152" y="285389"/>
                </a:cubicBezTo>
                <a:cubicBezTo>
                  <a:pt x="290152" y="287587"/>
                  <a:pt x="288348" y="289785"/>
                  <a:pt x="285822" y="289785"/>
                </a:cubicBezTo>
                <a:lnTo>
                  <a:pt x="4331" y="289785"/>
                </a:lnTo>
                <a:cubicBezTo>
                  <a:pt x="2165" y="289785"/>
                  <a:pt x="0" y="287587"/>
                  <a:pt x="0" y="285389"/>
                </a:cubicBezTo>
                <a:cubicBezTo>
                  <a:pt x="0" y="282458"/>
                  <a:pt x="2165" y="280626"/>
                  <a:pt x="4331" y="280626"/>
                </a:cubicBezTo>
                <a:close/>
                <a:moveTo>
                  <a:pt x="168142" y="217126"/>
                </a:moveTo>
                <a:cubicBezTo>
                  <a:pt x="170279" y="217126"/>
                  <a:pt x="172059" y="218918"/>
                  <a:pt x="172059" y="221427"/>
                </a:cubicBezTo>
                <a:lnTo>
                  <a:pt x="172059" y="253331"/>
                </a:lnTo>
                <a:cubicBezTo>
                  <a:pt x="172059" y="258708"/>
                  <a:pt x="176688" y="263369"/>
                  <a:pt x="182385" y="263369"/>
                </a:cubicBezTo>
                <a:cubicBezTo>
                  <a:pt x="188082" y="263369"/>
                  <a:pt x="192355" y="258708"/>
                  <a:pt x="192355" y="253331"/>
                </a:cubicBezTo>
                <a:cubicBezTo>
                  <a:pt x="192355" y="250822"/>
                  <a:pt x="194492" y="249030"/>
                  <a:pt x="196984" y="249030"/>
                </a:cubicBezTo>
                <a:cubicBezTo>
                  <a:pt x="199477" y="249030"/>
                  <a:pt x="201257" y="250822"/>
                  <a:pt x="201257" y="253331"/>
                </a:cubicBezTo>
                <a:cubicBezTo>
                  <a:pt x="201257" y="263727"/>
                  <a:pt x="192711" y="272330"/>
                  <a:pt x="182385" y="272330"/>
                </a:cubicBezTo>
                <a:cubicBezTo>
                  <a:pt x="172059" y="272330"/>
                  <a:pt x="163513" y="263727"/>
                  <a:pt x="163513" y="253331"/>
                </a:cubicBezTo>
                <a:lnTo>
                  <a:pt x="163513" y="221427"/>
                </a:lnTo>
                <a:cubicBezTo>
                  <a:pt x="163513" y="218918"/>
                  <a:pt x="165293" y="217126"/>
                  <a:pt x="168142" y="217126"/>
                </a:cubicBezTo>
                <a:close/>
                <a:moveTo>
                  <a:pt x="144096" y="217126"/>
                </a:moveTo>
                <a:cubicBezTo>
                  <a:pt x="146661" y="217126"/>
                  <a:pt x="148859" y="218918"/>
                  <a:pt x="148859" y="221427"/>
                </a:cubicBezTo>
                <a:lnTo>
                  <a:pt x="148859" y="268029"/>
                </a:lnTo>
                <a:cubicBezTo>
                  <a:pt x="148859" y="270179"/>
                  <a:pt x="146661" y="272330"/>
                  <a:pt x="144096" y="272330"/>
                </a:cubicBezTo>
                <a:cubicBezTo>
                  <a:pt x="141898" y="272330"/>
                  <a:pt x="139700" y="270179"/>
                  <a:pt x="139700" y="268029"/>
                </a:cubicBezTo>
                <a:lnTo>
                  <a:pt x="139700" y="221427"/>
                </a:lnTo>
                <a:cubicBezTo>
                  <a:pt x="139700" y="218918"/>
                  <a:pt x="141898" y="217126"/>
                  <a:pt x="144096" y="217126"/>
                </a:cubicBezTo>
                <a:close/>
                <a:moveTo>
                  <a:pt x="120740" y="217126"/>
                </a:moveTo>
                <a:cubicBezTo>
                  <a:pt x="123257" y="217126"/>
                  <a:pt x="125054" y="218918"/>
                  <a:pt x="125054" y="221427"/>
                </a:cubicBezTo>
                <a:lnTo>
                  <a:pt x="125054" y="253331"/>
                </a:lnTo>
                <a:cubicBezTo>
                  <a:pt x="125054" y="263727"/>
                  <a:pt x="116787" y="272330"/>
                  <a:pt x="106363" y="272330"/>
                </a:cubicBezTo>
                <a:cubicBezTo>
                  <a:pt x="95940" y="272330"/>
                  <a:pt x="87313" y="263727"/>
                  <a:pt x="87313" y="253331"/>
                </a:cubicBezTo>
                <a:cubicBezTo>
                  <a:pt x="87313" y="250822"/>
                  <a:pt x="89470" y="249030"/>
                  <a:pt x="91626" y="249030"/>
                </a:cubicBezTo>
                <a:cubicBezTo>
                  <a:pt x="94142" y="249030"/>
                  <a:pt x="95940" y="250822"/>
                  <a:pt x="95940" y="253331"/>
                </a:cubicBezTo>
                <a:cubicBezTo>
                  <a:pt x="95940" y="258708"/>
                  <a:pt x="100612" y="263369"/>
                  <a:pt x="106363" y="263369"/>
                </a:cubicBezTo>
                <a:cubicBezTo>
                  <a:pt x="112114" y="263369"/>
                  <a:pt x="116427" y="258708"/>
                  <a:pt x="116427" y="253331"/>
                </a:cubicBezTo>
                <a:lnTo>
                  <a:pt x="116427" y="221427"/>
                </a:lnTo>
                <a:cubicBezTo>
                  <a:pt x="116427" y="218918"/>
                  <a:pt x="118584" y="217126"/>
                  <a:pt x="120740" y="217126"/>
                </a:cubicBezTo>
                <a:close/>
                <a:moveTo>
                  <a:pt x="144285" y="149828"/>
                </a:moveTo>
                <a:cubicBezTo>
                  <a:pt x="138588" y="149828"/>
                  <a:pt x="134315" y="154457"/>
                  <a:pt x="134315" y="159798"/>
                </a:cubicBezTo>
                <a:cubicBezTo>
                  <a:pt x="134315" y="165495"/>
                  <a:pt x="138588" y="170124"/>
                  <a:pt x="144285" y="170124"/>
                </a:cubicBezTo>
                <a:cubicBezTo>
                  <a:pt x="149982" y="170124"/>
                  <a:pt x="154255" y="165495"/>
                  <a:pt x="154255" y="159798"/>
                </a:cubicBezTo>
                <a:cubicBezTo>
                  <a:pt x="154255" y="154457"/>
                  <a:pt x="149982" y="149828"/>
                  <a:pt x="144285" y="149828"/>
                </a:cubicBezTo>
                <a:close/>
                <a:moveTo>
                  <a:pt x="144285" y="140926"/>
                </a:moveTo>
                <a:cubicBezTo>
                  <a:pt x="154967" y="140926"/>
                  <a:pt x="163157" y="149472"/>
                  <a:pt x="163157" y="159798"/>
                </a:cubicBezTo>
                <a:cubicBezTo>
                  <a:pt x="163157" y="170480"/>
                  <a:pt x="154967" y="178670"/>
                  <a:pt x="144285" y="178670"/>
                </a:cubicBezTo>
                <a:cubicBezTo>
                  <a:pt x="133959" y="178670"/>
                  <a:pt x="125413" y="170480"/>
                  <a:pt x="125413" y="159798"/>
                </a:cubicBezTo>
                <a:cubicBezTo>
                  <a:pt x="125413" y="149472"/>
                  <a:pt x="133959" y="140926"/>
                  <a:pt x="144285" y="140926"/>
                </a:cubicBezTo>
                <a:close/>
                <a:moveTo>
                  <a:pt x="189309" y="117873"/>
                </a:moveTo>
                <a:lnTo>
                  <a:pt x="189309" y="200781"/>
                </a:lnTo>
                <a:lnTo>
                  <a:pt x="217046" y="213757"/>
                </a:lnTo>
                <a:lnTo>
                  <a:pt x="217046" y="178071"/>
                </a:lnTo>
                <a:cubicBezTo>
                  <a:pt x="217046" y="175908"/>
                  <a:pt x="218847" y="173745"/>
                  <a:pt x="221368" y="173745"/>
                </a:cubicBezTo>
                <a:cubicBezTo>
                  <a:pt x="223890" y="173745"/>
                  <a:pt x="225691" y="175908"/>
                  <a:pt x="225691" y="178071"/>
                </a:cubicBezTo>
                <a:lnTo>
                  <a:pt x="225691" y="218083"/>
                </a:lnTo>
                <a:lnTo>
                  <a:pt x="246223" y="227816"/>
                </a:lnTo>
                <a:lnTo>
                  <a:pt x="246223" y="179873"/>
                </a:lnTo>
                <a:lnTo>
                  <a:pt x="189309" y="117873"/>
                </a:lnTo>
                <a:close/>
                <a:moveTo>
                  <a:pt x="98896" y="117873"/>
                </a:moveTo>
                <a:lnTo>
                  <a:pt x="41983" y="179873"/>
                </a:lnTo>
                <a:lnTo>
                  <a:pt x="41983" y="227816"/>
                </a:lnTo>
                <a:lnTo>
                  <a:pt x="62515" y="218083"/>
                </a:lnTo>
                <a:lnTo>
                  <a:pt x="62515" y="178071"/>
                </a:lnTo>
                <a:cubicBezTo>
                  <a:pt x="62515" y="175908"/>
                  <a:pt x="64676" y="173745"/>
                  <a:pt x="66838" y="173745"/>
                </a:cubicBezTo>
                <a:cubicBezTo>
                  <a:pt x="68999" y="173745"/>
                  <a:pt x="71160" y="175908"/>
                  <a:pt x="71160" y="178071"/>
                </a:cubicBezTo>
                <a:lnTo>
                  <a:pt x="71160" y="213757"/>
                </a:lnTo>
                <a:lnTo>
                  <a:pt x="98896" y="200781"/>
                </a:lnTo>
                <a:lnTo>
                  <a:pt x="98896" y="117873"/>
                </a:lnTo>
                <a:close/>
                <a:moveTo>
                  <a:pt x="144285" y="90735"/>
                </a:moveTo>
                <a:cubicBezTo>
                  <a:pt x="138588" y="90735"/>
                  <a:pt x="134315" y="95720"/>
                  <a:pt x="134315" y="101061"/>
                </a:cubicBezTo>
                <a:cubicBezTo>
                  <a:pt x="134315" y="106758"/>
                  <a:pt x="138588" y="111031"/>
                  <a:pt x="144285" y="111031"/>
                </a:cubicBezTo>
                <a:cubicBezTo>
                  <a:pt x="149982" y="111031"/>
                  <a:pt x="154255" y="106758"/>
                  <a:pt x="154255" y="101061"/>
                </a:cubicBezTo>
                <a:cubicBezTo>
                  <a:pt x="154255" y="95720"/>
                  <a:pt x="149982" y="90735"/>
                  <a:pt x="144285" y="90735"/>
                </a:cubicBezTo>
                <a:close/>
                <a:moveTo>
                  <a:pt x="144285" y="82189"/>
                </a:moveTo>
                <a:cubicBezTo>
                  <a:pt x="154967" y="82189"/>
                  <a:pt x="163157" y="90735"/>
                  <a:pt x="163157" y="101061"/>
                </a:cubicBezTo>
                <a:cubicBezTo>
                  <a:pt x="163157" y="111387"/>
                  <a:pt x="154967" y="119933"/>
                  <a:pt x="144285" y="119933"/>
                </a:cubicBezTo>
                <a:cubicBezTo>
                  <a:pt x="133959" y="119933"/>
                  <a:pt x="125413" y="111387"/>
                  <a:pt x="125413" y="101061"/>
                </a:cubicBezTo>
                <a:cubicBezTo>
                  <a:pt x="125413" y="90735"/>
                  <a:pt x="133959" y="82189"/>
                  <a:pt x="144285" y="82189"/>
                </a:cubicBezTo>
                <a:close/>
                <a:moveTo>
                  <a:pt x="111144" y="62721"/>
                </a:moveTo>
                <a:cubicBezTo>
                  <a:pt x="108982" y="70291"/>
                  <a:pt x="107542" y="77861"/>
                  <a:pt x="107542" y="86151"/>
                </a:cubicBezTo>
                <a:lnTo>
                  <a:pt x="107542" y="198978"/>
                </a:lnTo>
                <a:lnTo>
                  <a:pt x="180664" y="198978"/>
                </a:lnTo>
                <a:lnTo>
                  <a:pt x="180664" y="86151"/>
                </a:lnTo>
                <a:cubicBezTo>
                  <a:pt x="180664" y="77861"/>
                  <a:pt x="179223" y="70291"/>
                  <a:pt x="176702" y="62721"/>
                </a:cubicBezTo>
                <a:lnTo>
                  <a:pt x="111144" y="62721"/>
                </a:lnTo>
                <a:close/>
                <a:moveTo>
                  <a:pt x="143923" y="10453"/>
                </a:moveTo>
                <a:cubicBezTo>
                  <a:pt x="137799" y="16581"/>
                  <a:pt x="123031" y="32802"/>
                  <a:pt x="114386" y="53709"/>
                </a:cubicBezTo>
                <a:lnTo>
                  <a:pt x="173820" y="53709"/>
                </a:lnTo>
                <a:cubicBezTo>
                  <a:pt x="164815" y="32802"/>
                  <a:pt x="150407" y="16581"/>
                  <a:pt x="143923" y="10453"/>
                </a:cubicBezTo>
                <a:close/>
                <a:moveTo>
                  <a:pt x="141041" y="1081"/>
                </a:moveTo>
                <a:cubicBezTo>
                  <a:pt x="142842" y="-361"/>
                  <a:pt x="145364" y="-361"/>
                  <a:pt x="146804" y="1081"/>
                </a:cubicBezTo>
                <a:cubicBezTo>
                  <a:pt x="148606" y="2523"/>
                  <a:pt x="189309" y="39651"/>
                  <a:pt x="189309" y="86151"/>
                </a:cubicBezTo>
                <a:lnTo>
                  <a:pt x="189309" y="104896"/>
                </a:lnTo>
                <a:lnTo>
                  <a:pt x="253787" y="175187"/>
                </a:lnTo>
                <a:cubicBezTo>
                  <a:pt x="254868" y="175908"/>
                  <a:pt x="255228" y="176990"/>
                  <a:pt x="255228" y="178071"/>
                </a:cubicBezTo>
                <a:lnTo>
                  <a:pt x="255228" y="234665"/>
                </a:lnTo>
                <a:cubicBezTo>
                  <a:pt x="255228" y="236107"/>
                  <a:pt x="254147" y="237548"/>
                  <a:pt x="253067" y="238269"/>
                </a:cubicBezTo>
                <a:cubicBezTo>
                  <a:pt x="251986" y="238630"/>
                  <a:pt x="251626" y="238990"/>
                  <a:pt x="250545" y="238990"/>
                </a:cubicBezTo>
                <a:cubicBezTo>
                  <a:pt x="250185" y="238990"/>
                  <a:pt x="249465" y="238990"/>
                  <a:pt x="248744" y="238630"/>
                </a:cubicBezTo>
                <a:lnTo>
                  <a:pt x="183906" y="207629"/>
                </a:lnTo>
                <a:lnTo>
                  <a:pt x="103939" y="207629"/>
                </a:lnTo>
                <a:lnTo>
                  <a:pt x="39462" y="238630"/>
                </a:lnTo>
                <a:cubicBezTo>
                  <a:pt x="39101" y="238990"/>
                  <a:pt x="38381" y="238990"/>
                  <a:pt x="37661" y="238990"/>
                </a:cubicBezTo>
                <a:cubicBezTo>
                  <a:pt x="36580" y="238990"/>
                  <a:pt x="35860" y="238990"/>
                  <a:pt x="35499" y="238269"/>
                </a:cubicBezTo>
                <a:cubicBezTo>
                  <a:pt x="34059" y="237548"/>
                  <a:pt x="33338" y="236107"/>
                  <a:pt x="33338" y="234665"/>
                </a:cubicBezTo>
                <a:lnTo>
                  <a:pt x="33338" y="178071"/>
                </a:lnTo>
                <a:cubicBezTo>
                  <a:pt x="33338" y="176990"/>
                  <a:pt x="33698" y="175908"/>
                  <a:pt x="34059" y="175187"/>
                </a:cubicBezTo>
                <a:lnTo>
                  <a:pt x="98896" y="104896"/>
                </a:lnTo>
                <a:lnTo>
                  <a:pt x="98896" y="86151"/>
                </a:lnTo>
                <a:cubicBezTo>
                  <a:pt x="98896" y="39651"/>
                  <a:pt x="139240" y="2523"/>
                  <a:pt x="141041" y="1081"/>
                </a:cubicBezTo>
                <a:close/>
              </a:path>
            </a:pathLst>
          </a:custGeom>
          <a:solidFill>
            <a:srgbClr val="006B87"/>
          </a:solidFill>
          <a:ln>
            <a:noFill/>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6B87"/>
              </a:solidFill>
              <a:effectLst/>
              <a:uLnTx/>
              <a:uFillTx/>
              <a:latin typeface="Arial"/>
            </a:endParaRPr>
          </a:p>
        </p:txBody>
      </p:sp>
      <p:sp>
        <p:nvSpPr>
          <p:cNvPr id="65" name="TextBox 64"/>
          <p:cNvSpPr txBox="1"/>
          <p:nvPr/>
        </p:nvSpPr>
        <p:spPr>
          <a:xfrm>
            <a:off x="4801893" y="6471296"/>
            <a:ext cx="5935305" cy="261610"/>
          </a:xfrm>
          <a:prstGeom prst="rect">
            <a:avLst/>
          </a:prstGeom>
          <a:noFill/>
        </p:spPr>
        <p:txBody>
          <a:bodyPr wrap="square" numCol="1" rtlCol="0">
            <a:spAutoFit/>
          </a:bodyPr>
          <a:lstStyle/>
          <a:p>
            <a:r>
              <a:rPr lang="en-US" sz="1100" baseline="30000"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Internal Cyberscout Analysis</a:t>
            </a:r>
            <a:endParaRPr lang="en-US" sz="1100" baseline="30000" dirty="0">
              <a:latin typeface="Arial" panose="020B0604020202020204" pitchFamily="34" charset="0"/>
              <a:cs typeface="Arial" panose="020B0604020202020204" pitchFamily="34" charset="0"/>
            </a:endParaRPr>
          </a:p>
        </p:txBody>
      </p:sp>
      <p:sp>
        <p:nvSpPr>
          <p:cNvPr id="66" name="Rectangle 65"/>
          <p:cNvSpPr/>
          <p:nvPr/>
        </p:nvSpPr>
        <p:spPr>
          <a:xfrm>
            <a:off x="745717" y="511242"/>
            <a:ext cx="10700567" cy="810478"/>
          </a:xfrm>
          <a:prstGeom prst="rect">
            <a:avLst/>
          </a:prstGeom>
          <a:noFill/>
          <a:effectLst>
            <a:outerShdw blurRad="63500" sx="102000" sy="102000" algn="ctr" rotWithShape="0">
              <a:prstClr val="black">
                <a:alpha val="40000"/>
              </a:prstClr>
            </a:outerShdw>
          </a:effectLst>
        </p:spPr>
        <p:txBody>
          <a:bodyPr wrap="square">
            <a:spAutoFit/>
          </a:bodyPr>
          <a:lstStyle/>
          <a:p>
            <a:pPr lvl="0" algn="ctr">
              <a:defRPr/>
            </a:pPr>
            <a:r>
              <a:rPr lang="en-US" sz="2800" b="1" i="1" kern="0" dirty="0" err="1">
                <a:latin typeface="Arial" panose="020B0604020202020204" pitchFamily="34" charset="0"/>
                <a:cs typeface="Arial" panose="020B0604020202020204" pitchFamily="34" charset="0"/>
              </a:rPr>
              <a:t>Beneficios</a:t>
            </a:r>
            <a:r>
              <a:rPr lang="en-US" sz="2800" b="1" i="1" kern="0" dirty="0">
                <a:latin typeface="Arial" panose="020B0604020202020204" pitchFamily="34" charset="0"/>
                <a:cs typeface="Arial" panose="020B0604020202020204" pitchFamily="34" charset="0"/>
              </a:rPr>
              <a:t> de </a:t>
            </a:r>
            <a:r>
              <a:rPr lang="en-US" sz="2800" b="1" i="1" kern="0" dirty="0" err="1">
                <a:latin typeface="Arial" panose="020B0604020202020204" pitchFamily="34" charset="0"/>
                <a:cs typeface="Arial" panose="020B0604020202020204" pitchFamily="34" charset="0"/>
              </a:rPr>
              <a:t>ofrecer</a:t>
            </a:r>
            <a:r>
              <a:rPr lang="en-US" sz="2800" b="1" i="1" kern="0" dirty="0">
                <a:latin typeface="Arial" panose="020B0604020202020204" pitchFamily="34" charset="0"/>
                <a:cs typeface="Arial" panose="020B0604020202020204" pitchFamily="34" charset="0"/>
              </a:rPr>
              <a:t> </a:t>
            </a:r>
            <a:r>
              <a:rPr lang="en-US" sz="2800" b="1" i="1" kern="0" dirty="0" err="1">
                <a:latin typeface="Arial" panose="020B0604020202020204" pitchFamily="34" charset="0"/>
                <a:cs typeface="Arial" panose="020B0604020202020204" pitchFamily="34" charset="0"/>
              </a:rPr>
              <a:t>cobertura</a:t>
            </a:r>
            <a:r>
              <a:rPr lang="en-US" sz="2800" b="1" i="1" kern="0" dirty="0">
                <a:latin typeface="Arial" panose="020B0604020202020204" pitchFamily="34" charset="0"/>
                <a:cs typeface="Arial" panose="020B0604020202020204" pitchFamily="34" charset="0"/>
              </a:rPr>
              <a:t> </a:t>
            </a:r>
            <a:r>
              <a:rPr lang="en-US" sz="2800" b="1" i="1" kern="0" dirty="0" err="1">
                <a:latin typeface="Arial" panose="020B0604020202020204" pitchFamily="34" charset="0"/>
                <a:cs typeface="Arial" panose="020B0604020202020204" pitchFamily="34" charset="0"/>
              </a:rPr>
              <a:t>cibernética</a:t>
            </a:r>
            <a:r>
              <a:rPr lang="en-US" sz="2800" b="1" i="1" kern="0" dirty="0">
                <a:latin typeface="Arial" panose="020B0604020202020204" pitchFamily="34" charset="0"/>
                <a:cs typeface="Arial" panose="020B0604020202020204" pitchFamily="34" charset="0"/>
              </a:rPr>
              <a:t>
</a:t>
            </a:r>
            <a:endParaRPr kumimoji="0" lang="en-US" sz="2800" b="1" i="0" u="none" strike="noStrike" kern="0" cap="none" spc="0" normalizeH="0" baseline="3000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85487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9760" y="2925610"/>
            <a:ext cx="2960542" cy="1325563"/>
          </a:xfrm>
        </p:spPr>
        <p:txBody>
          <a:bodyPr>
            <a:noAutofit/>
          </a:bodyPr>
          <a:lstStyle/>
          <a:p>
            <a:r>
              <a:rPr lang="en-US" sz="3600" dirty="0" err="1"/>
              <a:t>Conclusiones</a:t>
            </a:r>
            <a:r>
              <a:rPr lang="en-US" sz="3600" dirty="0"/>
              <a:t> clave
</a:t>
            </a:r>
          </a:p>
        </p:txBody>
      </p:sp>
      <p:sp>
        <p:nvSpPr>
          <p:cNvPr id="3" name="Content Placeholder 2"/>
          <p:cNvSpPr>
            <a:spLocks noGrp="1"/>
          </p:cNvSpPr>
          <p:nvPr>
            <p:ph idx="1"/>
          </p:nvPr>
        </p:nvSpPr>
        <p:spPr>
          <a:xfrm>
            <a:off x="4606706" y="957699"/>
            <a:ext cx="5384027" cy="633131"/>
          </a:xfrm>
        </p:spPr>
        <p:txBody>
          <a:bodyPr anchor="ctr">
            <a:noAutofit/>
          </a:bodyPr>
          <a:lstStyle/>
          <a:p>
            <a:pPr marL="0" indent="0">
              <a:buNone/>
            </a:pPr>
            <a:r>
              <a:rPr lang="es-ES" sz="2400" i="1" dirty="0"/>
              <a:t>La industria de seguros como accionador de soluciones cibernéticas 
</a:t>
            </a:r>
            <a:endParaRPr lang="en-US" sz="2400" i="1" dirty="0"/>
          </a:p>
        </p:txBody>
      </p:sp>
      <p:sp>
        <p:nvSpPr>
          <p:cNvPr id="4" name="Content Placeholder 2"/>
          <p:cNvSpPr txBox="1">
            <a:spLocks/>
          </p:cNvSpPr>
          <p:nvPr/>
        </p:nvSpPr>
        <p:spPr>
          <a:xfrm>
            <a:off x="4400270" y="5394806"/>
            <a:ext cx="5883442" cy="93399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2400" i="1" dirty="0"/>
              <a:t>Momento ideal para lanzar un producto Ciber 
</a:t>
            </a:r>
            <a:endParaRPr lang="en-US" sz="2400" i="1" dirty="0"/>
          </a:p>
        </p:txBody>
      </p:sp>
      <p:sp>
        <p:nvSpPr>
          <p:cNvPr id="5" name="Content Placeholder 2"/>
          <p:cNvSpPr txBox="1">
            <a:spLocks/>
          </p:cNvSpPr>
          <p:nvPr/>
        </p:nvSpPr>
        <p:spPr>
          <a:xfrm>
            <a:off x="5615042" y="2272915"/>
            <a:ext cx="6006005" cy="105162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i="1" dirty="0" err="1"/>
              <a:t>Eliminar</a:t>
            </a:r>
            <a:r>
              <a:rPr lang="en-US" sz="2400" i="1" dirty="0"/>
              <a:t> </a:t>
            </a:r>
            <a:r>
              <a:rPr lang="en-US" sz="2400" i="1" dirty="0" err="1"/>
              <a:t>coberturas</a:t>
            </a:r>
            <a:r>
              <a:rPr lang="en-US" sz="2400" i="1" dirty="0"/>
              <a:t> </a:t>
            </a:r>
            <a:r>
              <a:rPr lang="en-US" sz="2400" i="1" dirty="0" err="1"/>
              <a:t>confusas</a:t>
            </a:r>
            <a:r>
              <a:rPr lang="en-US" sz="2400" i="1" dirty="0"/>
              <a:t>
</a:t>
            </a:r>
          </a:p>
        </p:txBody>
      </p:sp>
      <p:sp>
        <p:nvSpPr>
          <p:cNvPr id="6" name="Content Placeholder 2"/>
          <p:cNvSpPr txBox="1">
            <a:spLocks/>
          </p:cNvSpPr>
          <p:nvPr/>
        </p:nvSpPr>
        <p:spPr>
          <a:xfrm>
            <a:off x="5599829" y="4137478"/>
            <a:ext cx="5550262" cy="63360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sz="2400" i="1" dirty="0"/>
              <a:t>Expertos para asistir en evento cibernéticos 
</a:t>
            </a:r>
            <a:endParaRPr lang="en-US" sz="2400" i="1" dirty="0"/>
          </a:p>
        </p:txBody>
      </p:sp>
      <p:sp>
        <p:nvSpPr>
          <p:cNvPr id="33" name="Arc 32">
            <a:extLst>
              <a:ext uri="{FF2B5EF4-FFF2-40B4-BE49-F238E27FC236}">
                <a16:creationId xmlns:a16="http://schemas.microsoft.com/office/drawing/2014/main" id="{A20CBA88-7607-AC42-871A-95C426A89990}"/>
              </a:ext>
            </a:extLst>
          </p:cNvPr>
          <p:cNvSpPr/>
          <p:nvPr/>
        </p:nvSpPr>
        <p:spPr>
          <a:xfrm>
            <a:off x="-255509" y="812615"/>
            <a:ext cx="5200530" cy="5200529"/>
          </a:xfrm>
          <a:prstGeom prst="arc">
            <a:avLst>
              <a:gd name="adj1" fmla="val 16200000"/>
              <a:gd name="adj2" fmla="val 5410514"/>
            </a:avLst>
          </a:prstGeom>
          <a:noFill/>
          <a:ln w="76200" cap="flat" cmpd="sng" algn="ctr">
            <a:solidFill>
              <a:srgbClr val="FFFFFF">
                <a:lumMod val="8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4" name="Oval 33">
            <a:extLst>
              <a:ext uri="{FF2B5EF4-FFF2-40B4-BE49-F238E27FC236}">
                <a16:creationId xmlns:a16="http://schemas.microsoft.com/office/drawing/2014/main" id="{56C3E3FC-5E40-EC41-B114-8E97B5864B14}"/>
              </a:ext>
            </a:extLst>
          </p:cNvPr>
          <p:cNvSpPr/>
          <p:nvPr/>
        </p:nvSpPr>
        <p:spPr>
          <a:xfrm>
            <a:off x="2220217" y="688077"/>
            <a:ext cx="249077" cy="249077"/>
          </a:xfrm>
          <a:prstGeom prst="ellipse">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5" name="Oval 34">
            <a:extLst>
              <a:ext uri="{FF2B5EF4-FFF2-40B4-BE49-F238E27FC236}">
                <a16:creationId xmlns:a16="http://schemas.microsoft.com/office/drawing/2014/main" id="{BDFEA11F-D290-3746-92FE-8A4CAAC79A3D}"/>
              </a:ext>
            </a:extLst>
          </p:cNvPr>
          <p:cNvSpPr/>
          <p:nvPr/>
        </p:nvSpPr>
        <p:spPr>
          <a:xfrm>
            <a:off x="2220217" y="5888606"/>
            <a:ext cx="249077" cy="249077"/>
          </a:xfrm>
          <a:prstGeom prst="ellipse">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6" name="Oval 35">
            <a:extLst>
              <a:ext uri="{FF2B5EF4-FFF2-40B4-BE49-F238E27FC236}">
                <a16:creationId xmlns:a16="http://schemas.microsoft.com/office/drawing/2014/main" id="{91CF7477-18D4-2E4A-9CCE-E04B20835EF0}"/>
              </a:ext>
            </a:extLst>
          </p:cNvPr>
          <p:cNvSpPr/>
          <p:nvPr/>
        </p:nvSpPr>
        <p:spPr>
          <a:xfrm>
            <a:off x="4400270" y="3769847"/>
            <a:ext cx="952701" cy="952701"/>
          </a:xfrm>
          <a:prstGeom prst="ellipse">
            <a:avLst/>
          </a:prstGeom>
          <a:solidFill>
            <a:srgbClr val="F17123"/>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8" name="Oval 37">
            <a:extLst>
              <a:ext uri="{FF2B5EF4-FFF2-40B4-BE49-F238E27FC236}">
                <a16:creationId xmlns:a16="http://schemas.microsoft.com/office/drawing/2014/main" id="{FD0D7CB5-E14B-574D-9E5E-EF5954173AD3}"/>
              </a:ext>
            </a:extLst>
          </p:cNvPr>
          <p:cNvSpPr/>
          <p:nvPr/>
        </p:nvSpPr>
        <p:spPr>
          <a:xfrm>
            <a:off x="3338169" y="797915"/>
            <a:ext cx="952701" cy="952701"/>
          </a:xfrm>
          <a:prstGeom prst="ellipse">
            <a:avLst/>
          </a:prstGeom>
          <a:solidFill>
            <a:srgbClr val="00A6CA"/>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9" name="Oval 38">
            <a:extLst>
              <a:ext uri="{FF2B5EF4-FFF2-40B4-BE49-F238E27FC236}">
                <a16:creationId xmlns:a16="http://schemas.microsoft.com/office/drawing/2014/main" id="{4AFE408B-165F-8040-9757-65047FBCAD0D}"/>
              </a:ext>
            </a:extLst>
          </p:cNvPr>
          <p:cNvSpPr/>
          <p:nvPr/>
        </p:nvSpPr>
        <p:spPr>
          <a:xfrm>
            <a:off x="3338169" y="5075143"/>
            <a:ext cx="952701" cy="952701"/>
          </a:xfrm>
          <a:prstGeom prst="ellipse">
            <a:avLst/>
          </a:prstGeom>
          <a:solidFill>
            <a:srgbClr val="A9D161"/>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0" name="Oval 39">
            <a:extLst>
              <a:ext uri="{FF2B5EF4-FFF2-40B4-BE49-F238E27FC236}">
                <a16:creationId xmlns:a16="http://schemas.microsoft.com/office/drawing/2014/main" id="{A72AFD7D-DB14-9044-A660-B7A71A35F190}"/>
              </a:ext>
            </a:extLst>
          </p:cNvPr>
          <p:cNvSpPr/>
          <p:nvPr/>
        </p:nvSpPr>
        <p:spPr>
          <a:xfrm>
            <a:off x="4401175" y="2157097"/>
            <a:ext cx="952701" cy="952701"/>
          </a:xfrm>
          <a:prstGeom prst="ellipse">
            <a:avLst/>
          </a:prstGeom>
          <a:solidFill>
            <a:srgbClr val="FCD800"/>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1" name="Freeform 35">
            <a:extLst>
              <a:ext uri="{FF2B5EF4-FFF2-40B4-BE49-F238E27FC236}">
                <a16:creationId xmlns:a16="http://schemas.microsoft.com/office/drawing/2014/main" id="{687375C7-0E58-2345-98BD-F237C14B0D22}"/>
              </a:ext>
            </a:extLst>
          </p:cNvPr>
          <p:cNvSpPr>
            <a:spLocks noChangeAspect="1"/>
          </p:cNvSpPr>
          <p:nvPr/>
        </p:nvSpPr>
        <p:spPr bwMode="auto">
          <a:xfrm>
            <a:off x="3600240" y="1060623"/>
            <a:ext cx="428559" cy="427286"/>
          </a:xfrm>
          <a:custGeom>
            <a:avLst/>
            <a:gdLst>
              <a:gd name="T0" fmla="*/ 2147483646 w 818"/>
              <a:gd name="T1" fmla="*/ 2147483646 h 817"/>
              <a:gd name="T2" fmla="*/ 2147483646 w 818"/>
              <a:gd name="T3" fmla="*/ 2147483646 h 817"/>
              <a:gd name="T4" fmla="*/ 2147483646 w 818"/>
              <a:gd name="T5" fmla="*/ 2147483646 h 817"/>
              <a:gd name="T6" fmla="*/ 2147483646 w 818"/>
              <a:gd name="T7" fmla="*/ 2147483646 h 817"/>
              <a:gd name="T8" fmla="*/ 2147483646 w 818"/>
              <a:gd name="T9" fmla="*/ 2147483646 h 817"/>
              <a:gd name="T10" fmla="*/ 2147483646 w 818"/>
              <a:gd name="T11" fmla="*/ 2147483646 h 817"/>
              <a:gd name="T12" fmla="*/ 2147483646 w 818"/>
              <a:gd name="T13" fmla="*/ 2147483646 h 817"/>
              <a:gd name="T14" fmla="*/ 2147483646 w 818"/>
              <a:gd name="T15" fmla="*/ 2147483646 h 817"/>
              <a:gd name="T16" fmla="*/ 2147483646 w 818"/>
              <a:gd name="T17" fmla="*/ 2147483646 h 817"/>
              <a:gd name="T18" fmla="*/ 2147483646 w 818"/>
              <a:gd name="T19" fmla="*/ 2147483646 h 817"/>
              <a:gd name="T20" fmla="*/ 2147483646 w 818"/>
              <a:gd name="T21" fmla="*/ 2147483646 h 817"/>
              <a:gd name="T22" fmla="*/ 2147483646 w 818"/>
              <a:gd name="T23" fmla="*/ 2147483646 h 817"/>
              <a:gd name="T24" fmla="*/ 2147483646 w 818"/>
              <a:gd name="T25" fmla="*/ 2147483646 h 817"/>
              <a:gd name="T26" fmla="*/ 2147483646 w 818"/>
              <a:gd name="T27" fmla="*/ 2147483646 h 817"/>
              <a:gd name="T28" fmla="*/ 2147483646 w 818"/>
              <a:gd name="T29" fmla="*/ 2147483646 h 817"/>
              <a:gd name="T30" fmla="*/ 2147483646 w 818"/>
              <a:gd name="T31" fmla="*/ 2147483646 h 817"/>
              <a:gd name="T32" fmla="*/ 2147483646 w 818"/>
              <a:gd name="T33" fmla="*/ 2147483646 h 817"/>
              <a:gd name="T34" fmla="*/ 2147483646 w 818"/>
              <a:gd name="T35" fmla="*/ 2147483646 h 817"/>
              <a:gd name="T36" fmla="*/ 2147483646 w 818"/>
              <a:gd name="T37" fmla="*/ 2147483646 h 817"/>
              <a:gd name="T38" fmla="*/ 2147483646 w 818"/>
              <a:gd name="T39" fmla="*/ 2147483646 h 817"/>
              <a:gd name="T40" fmla="*/ 2147483646 w 818"/>
              <a:gd name="T41" fmla="*/ 2147483646 h 817"/>
              <a:gd name="T42" fmla="*/ 2147483646 w 818"/>
              <a:gd name="T43" fmla="*/ 2147483646 h 817"/>
              <a:gd name="T44" fmla="*/ 2147483646 w 818"/>
              <a:gd name="T45" fmla="*/ 2147483646 h 817"/>
              <a:gd name="T46" fmla="*/ 2147483646 w 818"/>
              <a:gd name="T47" fmla="*/ 2147483646 h 817"/>
              <a:gd name="T48" fmla="*/ 2147483646 w 818"/>
              <a:gd name="T49" fmla="*/ 2147483646 h 817"/>
              <a:gd name="T50" fmla="*/ 2147483646 w 818"/>
              <a:gd name="T51" fmla="*/ 2147483646 h 817"/>
              <a:gd name="T52" fmla="*/ 2147483646 w 818"/>
              <a:gd name="T53" fmla="*/ 2147483646 h 817"/>
              <a:gd name="T54" fmla="*/ 2147483646 w 818"/>
              <a:gd name="T55" fmla="*/ 2147483646 h 817"/>
              <a:gd name="T56" fmla="*/ 2147483646 w 818"/>
              <a:gd name="T57" fmla="*/ 2147483646 h 817"/>
              <a:gd name="T58" fmla="*/ 2147483646 w 818"/>
              <a:gd name="T59" fmla="*/ 2147483646 h 817"/>
              <a:gd name="T60" fmla="*/ 2147483646 w 818"/>
              <a:gd name="T61" fmla="*/ 2147483646 h 817"/>
              <a:gd name="T62" fmla="*/ 2147483646 w 818"/>
              <a:gd name="T63" fmla="*/ 2147483646 h 817"/>
              <a:gd name="T64" fmla="*/ 2147483646 w 818"/>
              <a:gd name="T65" fmla="*/ 2147483646 h 817"/>
              <a:gd name="T66" fmla="*/ 2147483646 w 818"/>
              <a:gd name="T67" fmla="*/ 2147483646 h 817"/>
              <a:gd name="T68" fmla="*/ 2147483646 w 818"/>
              <a:gd name="T69" fmla="*/ 2147483646 h 817"/>
              <a:gd name="T70" fmla="*/ 2147483646 w 818"/>
              <a:gd name="T71" fmla="*/ 2147483646 h 817"/>
              <a:gd name="T72" fmla="*/ 2147483646 w 818"/>
              <a:gd name="T73" fmla="*/ 2147483646 h 817"/>
              <a:gd name="T74" fmla="*/ 2147483646 w 818"/>
              <a:gd name="T75" fmla="*/ 2147483646 h 817"/>
              <a:gd name="T76" fmla="*/ 2147483646 w 818"/>
              <a:gd name="T77" fmla="*/ 2147483646 h 817"/>
              <a:gd name="T78" fmla="*/ 2147483646 w 818"/>
              <a:gd name="T79" fmla="*/ 2147483646 h 817"/>
              <a:gd name="T80" fmla="*/ 2147483646 w 818"/>
              <a:gd name="T81" fmla="*/ 2147483646 h 817"/>
              <a:gd name="T82" fmla="*/ 2147483646 w 818"/>
              <a:gd name="T83" fmla="*/ 0 h 817"/>
              <a:gd name="T84" fmla="*/ 2147483646 w 818"/>
              <a:gd name="T85" fmla="*/ 0 h 817"/>
              <a:gd name="T86" fmla="*/ 0 w 818"/>
              <a:gd name="T87" fmla="*/ 2147483646 h 817"/>
              <a:gd name="T88" fmla="*/ 2147483646 w 818"/>
              <a:gd name="T89" fmla="*/ 2147483646 h 817"/>
              <a:gd name="T90" fmla="*/ 2147483646 w 818"/>
              <a:gd name="T91" fmla="*/ 2147483646 h 817"/>
              <a:gd name="T92" fmla="*/ 2147483646 w 818"/>
              <a:gd name="T93" fmla="*/ 2147483646 h 817"/>
              <a:gd name="T94" fmla="*/ 2147483646 w 818"/>
              <a:gd name="T95" fmla="*/ 2147483646 h 817"/>
              <a:gd name="T96" fmla="*/ 2147483646 w 818"/>
              <a:gd name="T97" fmla="*/ 2147483646 h 817"/>
              <a:gd name="T98" fmla="*/ 2147483646 w 818"/>
              <a:gd name="T99" fmla="*/ 2147483646 h 817"/>
              <a:gd name="T100" fmla="*/ 2147483646 w 818"/>
              <a:gd name="T101" fmla="*/ 2147483646 h 817"/>
              <a:gd name="T102" fmla="*/ 2147483646 w 818"/>
              <a:gd name="T103" fmla="*/ 2147483646 h 817"/>
              <a:gd name="T104" fmla="*/ 2147483646 w 818"/>
              <a:gd name="T105" fmla="*/ 2147483646 h 817"/>
              <a:gd name="T106" fmla="*/ 2147483646 w 818"/>
              <a:gd name="T107" fmla="*/ 2147483646 h 817"/>
              <a:gd name="T108" fmla="*/ 2147483646 w 818"/>
              <a:gd name="T109" fmla="*/ 0 h 8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8" h="817">
                <a:moveTo>
                  <a:pt x="588" y="572"/>
                </a:moveTo>
                <a:lnTo>
                  <a:pt x="527" y="395"/>
                </a:lnTo>
                <a:lnTo>
                  <a:pt x="704" y="456"/>
                </a:lnTo>
                <a:lnTo>
                  <a:pt x="628" y="489"/>
                </a:lnTo>
                <a:cubicBezTo>
                  <a:pt x="625" y="491"/>
                  <a:pt x="623" y="493"/>
                  <a:pt x="622" y="496"/>
                </a:cubicBezTo>
                <a:lnTo>
                  <a:pt x="588" y="572"/>
                </a:lnTo>
                <a:close/>
                <a:moveTo>
                  <a:pt x="792" y="593"/>
                </a:moveTo>
                <a:lnTo>
                  <a:pt x="606" y="593"/>
                </a:lnTo>
                <a:lnTo>
                  <a:pt x="643" y="510"/>
                </a:lnTo>
                <a:lnTo>
                  <a:pt x="743" y="465"/>
                </a:lnTo>
                <a:cubicBezTo>
                  <a:pt x="748" y="464"/>
                  <a:pt x="751" y="459"/>
                  <a:pt x="750" y="454"/>
                </a:cubicBezTo>
                <a:cubicBezTo>
                  <a:pt x="750" y="449"/>
                  <a:pt x="747" y="444"/>
                  <a:pt x="742" y="442"/>
                </a:cubicBezTo>
                <a:lnTo>
                  <a:pt x="586" y="389"/>
                </a:lnTo>
                <a:lnTo>
                  <a:pt x="586" y="316"/>
                </a:lnTo>
                <a:cubicBezTo>
                  <a:pt x="586" y="310"/>
                  <a:pt x="580" y="304"/>
                  <a:pt x="573" y="304"/>
                </a:cubicBezTo>
                <a:cubicBezTo>
                  <a:pt x="567" y="304"/>
                  <a:pt x="561" y="310"/>
                  <a:pt x="561" y="316"/>
                </a:cubicBezTo>
                <a:lnTo>
                  <a:pt x="561" y="380"/>
                </a:lnTo>
                <a:lnTo>
                  <a:pt x="511" y="363"/>
                </a:lnTo>
                <a:cubicBezTo>
                  <a:pt x="507" y="362"/>
                  <a:pt x="502" y="363"/>
                  <a:pt x="498" y="367"/>
                </a:cubicBezTo>
                <a:cubicBezTo>
                  <a:pt x="495" y="369"/>
                  <a:pt x="494" y="375"/>
                  <a:pt x="495" y="379"/>
                </a:cubicBezTo>
                <a:lnTo>
                  <a:pt x="524" y="462"/>
                </a:lnTo>
                <a:lnTo>
                  <a:pt x="256" y="462"/>
                </a:lnTo>
                <a:lnTo>
                  <a:pt x="256" y="157"/>
                </a:lnTo>
                <a:lnTo>
                  <a:pt x="561" y="157"/>
                </a:lnTo>
                <a:lnTo>
                  <a:pt x="561" y="220"/>
                </a:lnTo>
                <a:cubicBezTo>
                  <a:pt x="540" y="240"/>
                  <a:pt x="435" y="346"/>
                  <a:pt x="404" y="377"/>
                </a:cubicBezTo>
                <a:lnTo>
                  <a:pt x="327" y="300"/>
                </a:lnTo>
                <a:cubicBezTo>
                  <a:pt x="322" y="296"/>
                  <a:pt x="314" y="296"/>
                  <a:pt x="309" y="300"/>
                </a:cubicBezTo>
                <a:cubicBezTo>
                  <a:pt x="305" y="305"/>
                  <a:pt x="305" y="313"/>
                  <a:pt x="309" y="318"/>
                </a:cubicBezTo>
                <a:lnTo>
                  <a:pt x="395" y="404"/>
                </a:lnTo>
                <a:cubicBezTo>
                  <a:pt x="400" y="408"/>
                  <a:pt x="408" y="408"/>
                  <a:pt x="413" y="404"/>
                </a:cubicBezTo>
                <a:cubicBezTo>
                  <a:pt x="586" y="230"/>
                  <a:pt x="586" y="230"/>
                  <a:pt x="586" y="224"/>
                </a:cubicBezTo>
                <a:lnTo>
                  <a:pt x="586" y="144"/>
                </a:lnTo>
                <a:cubicBezTo>
                  <a:pt x="586" y="138"/>
                  <a:pt x="580" y="132"/>
                  <a:pt x="573" y="132"/>
                </a:cubicBezTo>
                <a:lnTo>
                  <a:pt x="244" y="132"/>
                </a:lnTo>
                <a:cubicBezTo>
                  <a:pt x="237" y="132"/>
                  <a:pt x="231" y="138"/>
                  <a:pt x="231" y="144"/>
                </a:cubicBezTo>
                <a:lnTo>
                  <a:pt x="231" y="474"/>
                </a:lnTo>
                <a:cubicBezTo>
                  <a:pt x="231" y="480"/>
                  <a:pt x="237" y="487"/>
                  <a:pt x="244" y="487"/>
                </a:cubicBezTo>
                <a:lnTo>
                  <a:pt x="532" y="487"/>
                </a:lnTo>
                <a:lnTo>
                  <a:pt x="575" y="610"/>
                </a:lnTo>
                <a:cubicBezTo>
                  <a:pt x="576" y="615"/>
                  <a:pt x="581" y="618"/>
                  <a:pt x="586" y="618"/>
                </a:cubicBezTo>
                <a:lnTo>
                  <a:pt x="792" y="618"/>
                </a:lnTo>
                <a:lnTo>
                  <a:pt x="792" y="656"/>
                </a:lnTo>
                <a:cubicBezTo>
                  <a:pt x="792" y="676"/>
                  <a:pt x="775" y="692"/>
                  <a:pt x="754" y="692"/>
                </a:cubicBezTo>
                <a:lnTo>
                  <a:pt x="63" y="692"/>
                </a:lnTo>
                <a:cubicBezTo>
                  <a:pt x="42" y="692"/>
                  <a:pt x="25" y="676"/>
                  <a:pt x="25" y="656"/>
                </a:cubicBezTo>
                <a:lnTo>
                  <a:pt x="25" y="618"/>
                </a:lnTo>
                <a:lnTo>
                  <a:pt x="521" y="618"/>
                </a:lnTo>
                <a:cubicBezTo>
                  <a:pt x="527" y="618"/>
                  <a:pt x="533" y="613"/>
                  <a:pt x="533" y="606"/>
                </a:cubicBezTo>
                <a:cubicBezTo>
                  <a:pt x="533" y="599"/>
                  <a:pt x="527" y="593"/>
                  <a:pt x="521" y="593"/>
                </a:cubicBezTo>
                <a:lnTo>
                  <a:pt x="25" y="593"/>
                </a:lnTo>
                <a:lnTo>
                  <a:pt x="25" y="62"/>
                </a:lnTo>
                <a:cubicBezTo>
                  <a:pt x="25" y="41"/>
                  <a:pt x="42" y="25"/>
                  <a:pt x="63" y="25"/>
                </a:cubicBezTo>
                <a:lnTo>
                  <a:pt x="754" y="25"/>
                </a:lnTo>
                <a:cubicBezTo>
                  <a:pt x="775" y="25"/>
                  <a:pt x="792" y="41"/>
                  <a:pt x="792" y="62"/>
                </a:cubicBezTo>
                <a:lnTo>
                  <a:pt x="792" y="593"/>
                </a:lnTo>
                <a:close/>
                <a:moveTo>
                  <a:pt x="544" y="791"/>
                </a:moveTo>
                <a:lnTo>
                  <a:pt x="272" y="791"/>
                </a:lnTo>
                <a:lnTo>
                  <a:pt x="272" y="717"/>
                </a:lnTo>
                <a:lnTo>
                  <a:pt x="544" y="717"/>
                </a:lnTo>
                <a:lnTo>
                  <a:pt x="544" y="791"/>
                </a:lnTo>
                <a:close/>
                <a:moveTo>
                  <a:pt x="754" y="0"/>
                </a:moveTo>
                <a:lnTo>
                  <a:pt x="63" y="0"/>
                </a:lnTo>
                <a:cubicBezTo>
                  <a:pt x="28" y="0"/>
                  <a:pt x="0" y="28"/>
                  <a:pt x="0" y="62"/>
                </a:cubicBezTo>
                <a:lnTo>
                  <a:pt x="0" y="656"/>
                </a:lnTo>
                <a:cubicBezTo>
                  <a:pt x="0" y="690"/>
                  <a:pt x="28" y="717"/>
                  <a:pt x="63" y="717"/>
                </a:cubicBezTo>
                <a:lnTo>
                  <a:pt x="248" y="717"/>
                </a:lnTo>
                <a:lnTo>
                  <a:pt x="248" y="791"/>
                </a:lnTo>
                <a:lnTo>
                  <a:pt x="161" y="791"/>
                </a:lnTo>
                <a:cubicBezTo>
                  <a:pt x="154" y="791"/>
                  <a:pt x="149" y="797"/>
                  <a:pt x="149" y="804"/>
                </a:cubicBezTo>
                <a:cubicBezTo>
                  <a:pt x="149" y="811"/>
                  <a:pt x="154" y="816"/>
                  <a:pt x="161" y="816"/>
                </a:cubicBezTo>
                <a:lnTo>
                  <a:pt x="656" y="816"/>
                </a:lnTo>
                <a:cubicBezTo>
                  <a:pt x="663" y="816"/>
                  <a:pt x="668" y="811"/>
                  <a:pt x="668" y="804"/>
                </a:cubicBezTo>
                <a:cubicBezTo>
                  <a:pt x="668" y="797"/>
                  <a:pt x="663" y="791"/>
                  <a:pt x="656" y="791"/>
                </a:cubicBezTo>
                <a:lnTo>
                  <a:pt x="569" y="791"/>
                </a:lnTo>
                <a:lnTo>
                  <a:pt x="569" y="717"/>
                </a:lnTo>
                <a:lnTo>
                  <a:pt x="754" y="717"/>
                </a:lnTo>
                <a:cubicBezTo>
                  <a:pt x="788" y="717"/>
                  <a:pt x="817" y="690"/>
                  <a:pt x="817" y="656"/>
                </a:cubicBezTo>
                <a:lnTo>
                  <a:pt x="817" y="62"/>
                </a:lnTo>
                <a:cubicBezTo>
                  <a:pt x="817" y="28"/>
                  <a:pt x="788" y="0"/>
                  <a:pt x="754" y="0"/>
                </a:cubicBezTo>
                <a:close/>
              </a:path>
            </a:pathLst>
          </a:custGeom>
          <a:solidFill>
            <a:srgbClr val="FFFFFF"/>
          </a:solidFill>
          <a:ln>
            <a:noFill/>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111" name="Freeform 951">
            <a:extLst>
              <a:ext uri="{FF2B5EF4-FFF2-40B4-BE49-F238E27FC236}">
                <a16:creationId xmlns:a16="http://schemas.microsoft.com/office/drawing/2014/main" id="{6338F3EA-8DE8-E84D-8F13-9718A9BD9708}"/>
              </a:ext>
            </a:extLst>
          </p:cNvPr>
          <p:cNvSpPr>
            <a:spLocks noChangeAspect="1"/>
          </p:cNvSpPr>
          <p:nvPr/>
        </p:nvSpPr>
        <p:spPr bwMode="auto">
          <a:xfrm>
            <a:off x="4647128" y="3989647"/>
            <a:ext cx="458984" cy="464633"/>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US"/>
          </a:p>
        </p:txBody>
      </p:sp>
      <p:sp>
        <p:nvSpPr>
          <p:cNvPr id="112" name="Freeform 669">
            <a:extLst>
              <a:ext uri="{FF2B5EF4-FFF2-40B4-BE49-F238E27FC236}">
                <a16:creationId xmlns:a16="http://schemas.microsoft.com/office/drawing/2014/main" id="{BC384CE6-035C-EE42-84FF-834E4464B478}"/>
              </a:ext>
            </a:extLst>
          </p:cNvPr>
          <p:cNvSpPr>
            <a:spLocks noChangeAspect="1" noChangeArrowheads="1"/>
          </p:cNvSpPr>
          <p:nvPr/>
        </p:nvSpPr>
        <p:spPr bwMode="auto">
          <a:xfrm>
            <a:off x="3576176" y="5313056"/>
            <a:ext cx="503174" cy="458172"/>
          </a:xfrm>
          <a:custGeom>
            <a:avLst/>
            <a:gdLst>
              <a:gd name="T0" fmla="*/ 1759871 w 298672"/>
              <a:gd name="T1" fmla="*/ 1701885 h 298210"/>
              <a:gd name="T2" fmla="*/ 1751285 w 298672"/>
              <a:gd name="T3" fmla="*/ 1752344 h 298210"/>
              <a:gd name="T4" fmla="*/ 35659 w 298672"/>
              <a:gd name="T5" fmla="*/ 1752344 h 298210"/>
              <a:gd name="T6" fmla="*/ 18482 w 298672"/>
              <a:gd name="T7" fmla="*/ 1701885 h 298210"/>
              <a:gd name="T8" fmla="*/ 1043247 w 298672"/>
              <a:gd name="T9" fmla="*/ 1263130 h 298210"/>
              <a:gd name="T10" fmla="*/ 1375868 w 298672"/>
              <a:gd name="T11" fmla="*/ 1417600 h 298210"/>
              <a:gd name="T12" fmla="*/ 1453123 w 298672"/>
              <a:gd name="T13" fmla="*/ 1587079 h 298210"/>
              <a:gd name="T14" fmla="*/ 1423078 w 298672"/>
              <a:gd name="T15" fmla="*/ 1563481 h 298210"/>
              <a:gd name="T16" fmla="*/ 1202046 w 298672"/>
              <a:gd name="T17" fmla="*/ 1529159 h 298210"/>
              <a:gd name="T18" fmla="*/ 1150548 w 298672"/>
              <a:gd name="T19" fmla="*/ 1507705 h 298210"/>
              <a:gd name="T20" fmla="*/ 1038961 w 298672"/>
              <a:gd name="T21" fmla="*/ 1314618 h 298210"/>
              <a:gd name="T22" fmla="*/ 790033 w 298672"/>
              <a:gd name="T23" fmla="*/ 1533443 h 298210"/>
              <a:gd name="T24" fmla="*/ 762133 w 298672"/>
              <a:gd name="T25" fmla="*/ 1505560 h 298210"/>
              <a:gd name="T26" fmla="*/ 650544 w 298672"/>
              <a:gd name="T27" fmla="*/ 1385416 h 298210"/>
              <a:gd name="T28" fmla="*/ 521789 w 298672"/>
              <a:gd name="T29" fmla="*/ 1559188 h 298210"/>
              <a:gd name="T30" fmla="*/ 491744 w 298672"/>
              <a:gd name="T31" fmla="*/ 1533443 h 298210"/>
              <a:gd name="T32" fmla="*/ 393031 w 298672"/>
              <a:gd name="T33" fmla="*/ 1505560 h 298210"/>
              <a:gd name="T34" fmla="*/ 317923 w 298672"/>
              <a:gd name="T35" fmla="*/ 1597808 h 298210"/>
              <a:gd name="T36" fmla="*/ 292172 w 298672"/>
              <a:gd name="T37" fmla="*/ 1567773 h 298210"/>
              <a:gd name="T38" fmla="*/ 500331 w 298672"/>
              <a:gd name="T39" fmla="*/ 1460503 h 298210"/>
              <a:gd name="T40" fmla="*/ 809343 w 298672"/>
              <a:gd name="T41" fmla="*/ 1374689 h 298210"/>
              <a:gd name="T42" fmla="*/ 676715 w 298672"/>
              <a:gd name="T43" fmla="*/ 1037044 h 298210"/>
              <a:gd name="T44" fmla="*/ 704643 w 298672"/>
              <a:gd name="T45" fmla="*/ 1117746 h 298210"/>
              <a:gd name="T46" fmla="*/ 893690 w 298672"/>
              <a:gd name="T47" fmla="*/ 1092261 h 298210"/>
              <a:gd name="T48" fmla="*/ 676715 w 298672"/>
              <a:gd name="T49" fmla="*/ 1037044 h 298210"/>
              <a:gd name="T50" fmla="*/ 599380 w 298672"/>
              <a:gd name="T51" fmla="*/ 986068 h 298210"/>
              <a:gd name="T52" fmla="*/ 919471 w 298672"/>
              <a:gd name="T53" fmla="*/ 986068 h 298210"/>
              <a:gd name="T54" fmla="*/ 973173 w 298672"/>
              <a:gd name="T55" fmla="*/ 905374 h 298210"/>
              <a:gd name="T56" fmla="*/ 803581 w 298672"/>
              <a:gd name="T57" fmla="*/ 226858 h 298210"/>
              <a:gd name="T58" fmla="*/ 732206 w 298672"/>
              <a:gd name="T59" fmla="*/ 474132 h 298210"/>
              <a:gd name="T60" fmla="*/ 903070 w 298672"/>
              <a:gd name="T61" fmla="*/ 463479 h 298210"/>
              <a:gd name="T62" fmla="*/ 801419 w 298672"/>
              <a:gd name="T63" fmla="*/ 740596 h 298210"/>
              <a:gd name="T64" fmla="*/ 766811 w 298672"/>
              <a:gd name="T65" fmla="*/ 755513 h 298210"/>
              <a:gd name="T66" fmla="*/ 838185 w 298672"/>
              <a:gd name="T67" fmla="*/ 512502 h 298210"/>
              <a:gd name="T68" fmla="*/ 667322 w 298672"/>
              <a:gd name="T69" fmla="*/ 523164 h 298210"/>
              <a:gd name="T70" fmla="*/ 766811 w 298672"/>
              <a:gd name="T71" fmla="*/ 239647 h 298210"/>
              <a:gd name="T72" fmla="*/ 766942 w 298672"/>
              <a:gd name="T73" fmla="*/ 53749 h 298210"/>
              <a:gd name="T74" fmla="*/ 515594 w 298672"/>
              <a:gd name="T75" fmla="*/ 612295 h 298210"/>
              <a:gd name="T76" fmla="*/ 973173 w 298672"/>
              <a:gd name="T77" fmla="*/ 852276 h 298210"/>
              <a:gd name="T78" fmla="*/ 1054811 w 298672"/>
              <a:gd name="T79" fmla="*/ 610171 h 298210"/>
              <a:gd name="T80" fmla="*/ 1024736 w 298672"/>
              <a:gd name="T81" fmla="*/ 147194 h 298210"/>
              <a:gd name="T82" fmla="*/ 762644 w 298672"/>
              <a:gd name="T83" fmla="*/ 651 h 298210"/>
              <a:gd name="T84" fmla="*/ 1185849 w 298672"/>
              <a:gd name="T85" fmla="*/ 397797 h 298210"/>
              <a:gd name="T86" fmla="*/ 1026880 w 298672"/>
              <a:gd name="T87" fmla="*/ 848033 h 298210"/>
              <a:gd name="T88" fmla="*/ 1026880 w 298672"/>
              <a:gd name="T89" fmla="*/ 1011557 h 298210"/>
              <a:gd name="T90" fmla="*/ 947398 w 298672"/>
              <a:gd name="T91" fmla="*/ 1037044 h 298210"/>
              <a:gd name="T92" fmla="*/ 865764 w 298672"/>
              <a:gd name="T93" fmla="*/ 1170837 h 298210"/>
              <a:gd name="T94" fmla="*/ 812060 w 298672"/>
              <a:gd name="T95" fmla="*/ 1264281 h 298210"/>
              <a:gd name="T96" fmla="*/ 758352 w 298672"/>
              <a:gd name="T97" fmla="*/ 1264281 h 298210"/>
              <a:gd name="T98" fmla="*/ 704643 w 298672"/>
              <a:gd name="T99" fmla="*/ 1170837 h 298210"/>
              <a:gd name="T100" fmla="*/ 625155 w 298672"/>
              <a:gd name="T101" fmla="*/ 1037044 h 298210"/>
              <a:gd name="T102" fmla="*/ 545672 w 298672"/>
              <a:gd name="T103" fmla="*/ 1011557 h 298210"/>
              <a:gd name="T104" fmla="*/ 545672 w 298672"/>
              <a:gd name="T105" fmla="*/ 856522 h 298210"/>
              <a:gd name="T106" fmla="*/ 384552 w 298672"/>
              <a:gd name="T107" fmla="*/ 395677 h 298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8672" h="298210">
                <a:moveTo>
                  <a:pt x="149201" y="266887"/>
                </a:moveTo>
                <a:cubicBezTo>
                  <a:pt x="202167" y="266887"/>
                  <a:pt x="255179" y="274395"/>
                  <a:pt x="295568" y="289412"/>
                </a:cubicBezTo>
                <a:cubicBezTo>
                  <a:pt x="298093" y="290485"/>
                  <a:pt x="299175" y="292988"/>
                  <a:pt x="298453" y="295133"/>
                </a:cubicBezTo>
                <a:cubicBezTo>
                  <a:pt x="297732" y="296921"/>
                  <a:pt x="295929" y="297993"/>
                  <a:pt x="294126" y="297993"/>
                </a:cubicBezTo>
                <a:cubicBezTo>
                  <a:pt x="293405" y="297993"/>
                  <a:pt x="293044" y="297993"/>
                  <a:pt x="292323" y="297993"/>
                </a:cubicBezTo>
                <a:cubicBezTo>
                  <a:pt x="213707" y="268317"/>
                  <a:pt x="84965" y="268317"/>
                  <a:pt x="5989" y="297993"/>
                </a:cubicBezTo>
                <a:cubicBezTo>
                  <a:pt x="3825" y="298709"/>
                  <a:pt x="1301" y="297636"/>
                  <a:pt x="219" y="295133"/>
                </a:cubicBezTo>
                <a:cubicBezTo>
                  <a:pt x="-502" y="292988"/>
                  <a:pt x="580" y="290485"/>
                  <a:pt x="3104" y="289412"/>
                </a:cubicBezTo>
                <a:cubicBezTo>
                  <a:pt x="43313" y="274395"/>
                  <a:pt x="96235" y="266887"/>
                  <a:pt x="149201" y="266887"/>
                </a:cubicBezTo>
                <a:close/>
                <a:moveTo>
                  <a:pt x="175212" y="214800"/>
                </a:moveTo>
                <a:cubicBezTo>
                  <a:pt x="191070" y="215530"/>
                  <a:pt x="205126" y="225745"/>
                  <a:pt x="211613" y="239973"/>
                </a:cubicBezTo>
                <a:cubicBezTo>
                  <a:pt x="217740" y="238149"/>
                  <a:pt x="224588" y="238514"/>
                  <a:pt x="231075" y="241068"/>
                </a:cubicBezTo>
                <a:cubicBezTo>
                  <a:pt x="240446" y="245081"/>
                  <a:pt x="246933" y="254566"/>
                  <a:pt x="248014" y="265146"/>
                </a:cubicBezTo>
                <a:cubicBezTo>
                  <a:pt x="248375" y="267335"/>
                  <a:pt x="246573" y="269889"/>
                  <a:pt x="244050" y="269889"/>
                </a:cubicBezTo>
                <a:cubicBezTo>
                  <a:pt x="244050" y="269889"/>
                  <a:pt x="243690" y="269889"/>
                  <a:pt x="243329" y="269889"/>
                </a:cubicBezTo>
                <a:cubicBezTo>
                  <a:pt x="241167" y="269889"/>
                  <a:pt x="239365" y="268065"/>
                  <a:pt x="239004" y="265876"/>
                </a:cubicBezTo>
                <a:cubicBezTo>
                  <a:pt x="238283" y="258944"/>
                  <a:pt x="233959" y="252377"/>
                  <a:pt x="227471" y="249459"/>
                </a:cubicBezTo>
                <a:cubicBezTo>
                  <a:pt x="217380" y="245081"/>
                  <a:pt x="205847" y="249824"/>
                  <a:pt x="201882" y="260039"/>
                </a:cubicBezTo>
                <a:cubicBezTo>
                  <a:pt x="200801" y="262228"/>
                  <a:pt x="197918" y="263322"/>
                  <a:pt x="195756" y="262593"/>
                </a:cubicBezTo>
                <a:cubicBezTo>
                  <a:pt x="193593" y="261498"/>
                  <a:pt x="192512" y="258944"/>
                  <a:pt x="193233" y="256391"/>
                </a:cubicBezTo>
                <a:cubicBezTo>
                  <a:pt x="195756" y="251283"/>
                  <a:pt x="199360" y="246905"/>
                  <a:pt x="203684" y="243986"/>
                </a:cubicBezTo>
                <a:cubicBezTo>
                  <a:pt x="198278" y="232312"/>
                  <a:pt x="187106" y="224651"/>
                  <a:pt x="174492" y="223556"/>
                </a:cubicBezTo>
                <a:cubicBezTo>
                  <a:pt x="155030" y="222097"/>
                  <a:pt x="138451" y="237055"/>
                  <a:pt x="137009" y="256755"/>
                </a:cubicBezTo>
                <a:cubicBezTo>
                  <a:pt x="136649" y="258944"/>
                  <a:pt x="134847" y="260768"/>
                  <a:pt x="132685" y="260768"/>
                </a:cubicBezTo>
                <a:cubicBezTo>
                  <a:pt x="132324" y="260768"/>
                  <a:pt x="132324" y="260768"/>
                  <a:pt x="132324" y="260768"/>
                </a:cubicBezTo>
                <a:cubicBezTo>
                  <a:pt x="129441" y="260768"/>
                  <a:pt x="127639" y="258215"/>
                  <a:pt x="127999" y="256026"/>
                </a:cubicBezTo>
                <a:cubicBezTo>
                  <a:pt x="128360" y="251283"/>
                  <a:pt x="129441" y="246175"/>
                  <a:pt x="131243" y="242162"/>
                </a:cubicBezTo>
                <a:cubicBezTo>
                  <a:pt x="125476" y="236325"/>
                  <a:pt x="117187" y="233771"/>
                  <a:pt x="109258" y="235595"/>
                </a:cubicBezTo>
                <a:cubicBezTo>
                  <a:pt x="98085" y="238514"/>
                  <a:pt x="90877" y="248729"/>
                  <a:pt x="91598" y="260039"/>
                </a:cubicBezTo>
                <a:cubicBezTo>
                  <a:pt x="91959" y="262593"/>
                  <a:pt x="90156" y="264782"/>
                  <a:pt x="87634" y="265146"/>
                </a:cubicBezTo>
                <a:lnTo>
                  <a:pt x="87273" y="265146"/>
                </a:lnTo>
                <a:cubicBezTo>
                  <a:pt x="85111" y="265146"/>
                  <a:pt x="82948" y="263322"/>
                  <a:pt x="82588" y="260768"/>
                </a:cubicBezTo>
                <a:cubicBezTo>
                  <a:pt x="82588" y="260039"/>
                  <a:pt x="82588" y="259309"/>
                  <a:pt x="82588" y="258579"/>
                </a:cubicBezTo>
                <a:cubicBezTo>
                  <a:pt x="78263" y="254566"/>
                  <a:pt x="71415" y="253472"/>
                  <a:pt x="66009" y="256026"/>
                </a:cubicBezTo>
                <a:cubicBezTo>
                  <a:pt x="61324" y="258579"/>
                  <a:pt x="58441" y="262957"/>
                  <a:pt x="57720" y="268065"/>
                </a:cubicBezTo>
                <a:cubicBezTo>
                  <a:pt x="57720" y="270254"/>
                  <a:pt x="55558" y="271713"/>
                  <a:pt x="53395" y="271713"/>
                </a:cubicBezTo>
                <a:cubicBezTo>
                  <a:pt x="53035" y="271713"/>
                  <a:pt x="53035" y="271713"/>
                  <a:pt x="52674" y="271713"/>
                </a:cubicBezTo>
                <a:cubicBezTo>
                  <a:pt x="50151" y="271713"/>
                  <a:pt x="48710" y="269159"/>
                  <a:pt x="49070" y="266606"/>
                </a:cubicBezTo>
                <a:cubicBezTo>
                  <a:pt x="49791" y="258579"/>
                  <a:pt x="54837" y="251648"/>
                  <a:pt x="62045" y="248000"/>
                </a:cubicBezTo>
                <a:cubicBezTo>
                  <a:pt x="69253" y="244351"/>
                  <a:pt x="77182" y="244716"/>
                  <a:pt x="84030" y="248364"/>
                </a:cubicBezTo>
                <a:cubicBezTo>
                  <a:pt x="87273" y="238149"/>
                  <a:pt x="95923" y="229758"/>
                  <a:pt x="106735" y="226840"/>
                </a:cubicBezTo>
                <a:cubicBezTo>
                  <a:pt x="117187" y="224286"/>
                  <a:pt x="127999" y="227204"/>
                  <a:pt x="135928" y="233771"/>
                </a:cubicBezTo>
                <a:cubicBezTo>
                  <a:pt x="144218" y="221367"/>
                  <a:pt x="158994" y="213341"/>
                  <a:pt x="175212" y="214800"/>
                </a:cubicBezTo>
                <a:close/>
                <a:moveTo>
                  <a:pt x="113653" y="176353"/>
                </a:moveTo>
                <a:lnTo>
                  <a:pt x="113653" y="185743"/>
                </a:lnTo>
                <a:cubicBezTo>
                  <a:pt x="113653" y="188271"/>
                  <a:pt x="115818" y="190077"/>
                  <a:pt x="118344" y="190077"/>
                </a:cubicBezTo>
                <a:lnTo>
                  <a:pt x="145404" y="190077"/>
                </a:lnTo>
                <a:cubicBezTo>
                  <a:pt x="147929" y="190077"/>
                  <a:pt x="150094" y="188271"/>
                  <a:pt x="150094" y="185743"/>
                </a:cubicBezTo>
                <a:lnTo>
                  <a:pt x="150094" y="176353"/>
                </a:lnTo>
                <a:lnTo>
                  <a:pt x="113653" y="176353"/>
                </a:lnTo>
                <a:close/>
                <a:moveTo>
                  <a:pt x="100665" y="153962"/>
                </a:moveTo>
                <a:lnTo>
                  <a:pt x="100665" y="167685"/>
                </a:lnTo>
                <a:lnTo>
                  <a:pt x="109324" y="167685"/>
                </a:lnTo>
                <a:lnTo>
                  <a:pt x="154424" y="167685"/>
                </a:lnTo>
                <a:lnTo>
                  <a:pt x="163443" y="167685"/>
                </a:lnTo>
                <a:lnTo>
                  <a:pt x="163443" y="153962"/>
                </a:lnTo>
                <a:lnTo>
                  <a:pt x="100665" y="153962"/>
                </a:lnTo>
                <a:close/>
                <a:moveTo>
                  <a:pt x="134960" y="38578"/>
                </a:moveTo>
                <a:cubicBezTo>
                  <a:pt x="137139" y="39303"/>
                  <a:pt x="138229" y="42203"/>
                  <a:pt x="137503" y="44378"/>
                </a:cubicBezTo>
                <a:lnTo>
                  <a:pt x="122973" y="80628"/>
                </a:lnTo>
                <a:lnTo>
                  <a:pt x="147310" y="77003"/>
                </a:lnTo>
                <a:cubicBezTo>
                  <a:pt x="149126" y="77003"/>
                  <a:pt x="150579" y="77366"/>
                  <a:pt x="151669" y="78816"/>
                </a:cubicBezTo>
                <a:cubicBezTo>
                  <a:pt x="152759" y="80266"/>
                  <a:pt x="153122" y="81716"/>
                  <a:pt x="152395" y="83166"/>
                </a:cubicBezTo>
                <a:lnTo>
                  <a:pt x="134597" y="125941"/>
                </a:lnTo>
                <a:cubicBezTo>
                  <a:pt x="134234" y="127753"/>
                  <a:pt x="132417" y="128841"/>
                  <a:pt x="130601" y="128841"/>
                </a:cubicBezTo>
                <a:cubicBezTo>
                  <a:pt x="129875" y="128841"/>
                  <a:pt x="129511" y="128841"/>
                  <a:pt x="128785" y="128478"/>
                </a:cubicBezTo>
                <a:cubicBezTo>
                  <a:pt x="126606" y="127753"/>
                  <a:pt x="125153" y="124853"/>
                  <a:pt x="126242" y="122678"/>
                </a:cubicBezTo>
                <a:lnTo>
                  <a:pt x="140772" y="87153"/>
                </a:lnTo>
                <a:lnTo>
                  <a:pt x="116435" y="90778"/>
                </a:lnTo>
                <a:cubicBezTo>
                  <a:pt x="114619" y="91141"/>
                  <a:pt x="113166" y="90416"/>
                  <a:pt x="112076" y="88966"/>
                </a:cubicBezTo>
                <a:cubicBezTo>
                  <a:pt x="110986" y="87878"/>
                  <a:pt x="110623" y="86066"/>
                  <a:pt x="111350" y="84616"/>
                </a:cubicBezTo>
                <a:lnTo>
                  <a:pt x="128785" y="40753"/>
                </a:lnTo>
                <a:cubicBezTo>
                  <a:pt x="129875" y="38578"/>
                  <a:pt x="132417" y="37128"/>
                  <a:pt x="134960" y="38578"/>
                </a:cubicBezTo>
                <a:close/>
                <a:moveTo>
                  <a:pt x="128807" y="9140"/>
                </a:moveTo>
                <a:cubicBezTo>
                  <a:pt x="98500" y="10946"/>
                  <a:pt x="73605" y="36949"/>
                  <a:pt x="73605" y="67286"/>
                </a:cubicBezTo>
                <a:cubicBezTo>
                  <a:pt x="73605" y="80648"/>
                  <a:pt x="77934" y="93288"/>
                  <a:pt x="86593" y="104123"/>
                </a:cubicBezTo>
                <a:cubicBezTo>
                  <a:pt x="95613" y="114957"/>
                  <a:pt x="100304" y="129765"/>
                  <a:pt x="100665" y="144933"/>
                </a:cubicBezTo>
                <a:lnTo>
                  <a:pt x="163443" y="144933"/>
                </a:lnTo>
                <a:lnTo>
                  <a:pt x="163443" y="144211"/>
                </a:lnTo>
                <a:cubicBezTo>
                  <a:pt x="163443" y="129403"/>
                  <a:pt x="168134" y="115319"/>
                  <a:pt x="177154" y="103762"/>
                </a:cubicBezTo>
                <a:cubicBezTo>
                  <a:pt x="185813" y="93288"/>
                  <a:pt x="190142" y="80648"/>
                  <a:pt x="190142" y="67647"/>
                </a:cubicBezTo>
                <a:cubicBezTo>
                  <a:pt x="190142" y="51395"/>
                  <a:pt x="183648" y="36226"/>
                  <a:pt x="172103" y="25031"/>
                </a:cubicBezTo>
                <a:cubicBezTo>
                  <a:pt x="160196" y="14196"/>
                  <a:pt x="145043" y="8418"/>
                  <a:pt x="128807" y="9140"/>
                </a:cubicBezTo>
                <a:close/>
                <a:moveTo>
                  <a:pt x="128085" y="111"/>
                </a:moveTo>
                <a:cubicBezTo>
                  <a:pt x="146847" y="-972"/>
                  <a:pt x="164526" y="5890"/>
                  <a:pt x="178236" y="18530"/>
                </a:cubicBezTo>
                <a:cubicBezTo>
                  <a:pt x="191586" y="31531"/>
                  <a:pt x="199162" y="48867"/>
                  <a:pt x="199162" y="67647"/>
                </a:cubicBezTo>
                <a:cubicBezTo>
                  <a:pt x="199162" y="82815"/>
                  <a:pt x="194111" y="97261"/>
                  <a:pt x="184370" y="109540"/>
                </a:cubicBezTo>
                <a:cubicBezTo>
                  <a:pt x="176793" y="119291"/>
                  <a:pt x="172463" y="131570"/>
                  <a:pt x="172463" y="144211"/>
                </a:cubicBezTo>
                <a:lnTo>
                  <a:pt x="172463" y="149267"/>
                </a:lnTo>
                <a:lnTo>
                  <a:pt x="172463" y="172019"/>
                </a:lnTo>
                <a:cubicBezTo>
                  <a:pt x="172463" y="174547"/>
                  <a:pt x="170299" y="176353"/>
                  <a:pt x="167773" y="176353"/>
                </a:cubicBezTo>
                <a:lnTo>
                  <a:pt x="159114" y="176353"/>
                </a:lnTo>
                <a:lnTo>
                  <a:pt x="159114" y="185743"/>
                </a:lnTo>
                <a:cubicBezTo>
                  <a:pt x="159114" y="192966"/>
                  <a:pt x="152980" y="199105"/>
                  <a:pt x="145404" y="199105"/>
                </a:cubicBezTo>
                <a:lnTo>
                  <a:pt x="136384" y="199105"/>
                </a:lnTo>
                <a:lnTo>
                  <a:pt x="136384" y="214996"/>
                </a:lnTo>
                <a:cubicBezTo>
                  <a:pt x="136384" y="217524"/>
                  <a:pt x="134580" y="219330"/>
                  <a:pt x="132054" y="219330"/>
                </a:cubicBezTo>
                <a:cubicBezTo>
                  <a:pt x="129529" y="219330"/>
                  <a:pt x="127364" y="217524"/>
                  <a:pt x="127364" y="214996"/>
                </a:cubicBezTo>
                <a:lnTo>
                  <a:pt x="127364" y="199105"/>
                </a:lnTo>
                <a:lnTo>
                  <a:pt x="118344" y="199105"/>
                </a:lnTo>
                <a:cubicBezTo>
                  <a:pt x="110767" y="199105"/>
                  <a:pt x="104994" y="192966"/>
                  <a:pt x="104994" y="185743"/>
                </a:cubicBezTo>
                <a:lnTo>
                  <a:pt x="104994" y="176353"/>
                </a:lnTo>
                <a:lnTo>
                  <a:pt x="95974" y="176353"/>
                </a:lnTo>
                <a:cubicBezTo>
                  <a:pt x="93449" y="176353"/>
                  <a:pt x="91645" y="174547"/>
                  <a:pt x="91645" y="172019"/>
                </a:cubicBezTo>
                <a:lnTo>
                  <a:pt x="91645" y="149267"/>
                </a:lnTo>
                <a:lnTo>
                  <a:pt x="91645" y="145655"/>
                </a:lnTo>
                <a:cubicBezTo>
                  <a:pt x="91645" y="131931"/>
                  <a:pt x="87315" y="119291"/>
                  <a:pt x="79738" y="109540"/>
                </a:cubicBezTo>
                <a:cubicBezTo>
                  <a:pt x="69997" y="97622"/>
                  <a:pt x="64585" y="82454"/>
                  <a:pt x="64585" y="67286"/>
                </a:cubicBezTo>
                <a:cubicBezTo>
                  <a:pt x="64946" y="31893"/>
                  <a:pt x="93088" y="1917"/>
                  <a:pt x="128085" y="111"/>
                </a:cubicBezTo>
                <a:close/>
              </a:path>
            </a:pathLst>
          </a:custGeom>
          <a:solidFill>
            <a:schemeClr val="tx1"/>
          </a:solidFill>
          <a:ln>
            <a:noFill/>
          </a:ln>
          <a:effectLst/>
        </p:spPr>
        <p:txBody>
          <a:bodyPr anchor="ct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Lato Light" panose="020F0502020204030203" pitchFamily="34" charset="0"/>
            </a:endParaRPr>
          </a:p>
        </p:txBody>
      </p:sp>
      <p:sp>
        <p:nvSpPr>
          <p:cNvPr id="113" name="Freeform 957">
            <a:extLst>
              <a:ext uri="{FF2B5EF4-FFF2-40B4-BE49-F238E27FC236}">
                <a16:creationId xmlns:a16="http://schemas.microsoft.com/office/drawing/2014/main" id="{3F159455-FC15-B149-ABAF-B87751B30ADD}"/>
              </a:ext>
            </a:extLst>
          </p:cNvPr>
          <p:cNvSpPr>
            <a:spLocks noChangeAspect="1"/>
          </p:cNvSpPr>
          <p:nvPr/>
        </p:nvSpPr>
        <p:spPr bwMode="auto">
          <a:xfrm rot="10800000">
            <a:off x="4606706" y="2362321"/>
            <a:ext cx="543871" cy="542252"/>
          </a:xfrm>
          <a:custGeom>
            <a:avLst/>
            <a:gdLst>
              <a:gd name="T0" fmla="*/ 7231786 w 293328"/>
              <a:gd name="T1" fmla="*/ 3281869 h 293329"/>
              <a:gd name="T2" fmla="*/ 5241143 w 293328"/>
              <a:gd name="T3" fmla="*/ 5262395 h 293329"/>
              <a:gd name="T4" fmla="*/ 7231786 w 293328"/>
              <a:gd name="T5" fmla="*/ 7229981 h 293329"/>
              <a:gd name="T6" fmla="*/ 8480878 w 293328"/>
              <a:gd name="T7" fmla="*/ 7229981 h 293329"/>
              <a:gd name="T8" fmla="*/ 6620299 w 293328"/>
              <a:gd name="T9" fmla="*/ 5378914 h 293329"/>
              <a:gd name="T10" fmla="*/ 6620299 w 293328"/>
              <a:gd name="T11" fmla="*/ 5145899 h 293329"/>
              <a:gd name="T12" fmla="*/ 8480878 w 293328"/>
              <a:gd name="T13" fmla="*/ 3281869 h 293329"/>
              <a:gd name="T14" fmla="*/ 3522979 w 293328"/>
              <a:gd name="T15" fmla="*/ 3281869 h 293329"/>
              <a:gd name="T16" fmla="*/ 1545228 w 293328"/>
              <a:gd name="T17" fmla="*/ 5262395 h 293329"/>
              <a:gd name="T18" fmla="*/ 3522979 w 293328"/>
              <a:gd name="T19" fmla="*/ 7229981 h 293329"/>
              <a:gd name="T20" fmla="*/ 4798038 w 293328"/>
              <a:gd name="T21" fmla="*/ 7229981 h 293329"/>
              <a:gd name="T22" fmla="*/ 2924460 w 293328"/>
              <a:gd name="T23" fmla="*/ 5378914 h 293329"/>
              <a:gd name="T24" fmla="*/ 2872422 w 293328"/>
              <a:gd name="T25" fmla="*/ 5262395 h 293329"/>
              <a:gd name="T26" fmla="*/ 2924460 w 293328"/>
              <a:gd name="T27" fmla="*/ 5145899 h 293329"/>
              <a:gd name="T28" fmla="*/ 4798038 w 293328"/>
              <a:gd name="T29" fmla="*/ 3281869 h 293329"/>
              <a:gd name="T30" fmla="*/ 7153804 w 293328"/>
              <a:gd name="T31" fmla="*/ 2958268 h 293329"/>
              <a:gd name="T32" fmla="*/ 8871194 w 293328"/>
              <a:gd name="T33" fmla="*/ 2958268 h 293329"/>
              <a:gd name="T34" fmla="*/ 9014307 w 293328"/>
              <a:gd name="T35" fmla="*/ 3061939 h 293329"/>
              <a:gd name="T36" fmla="*/ 8988292 w 293328"/>
              <a:gd name="T37" fmla="*/ 3230171 h 293329"/>
              <a:gd name="T38" fmla="*/ 6958583 w 293328"/>
              <a:gd name="T39" fmla="*/ 5262395 h 293329"/>
              <a:gd name="T40" fmla="*/ 8988292 w 293328"/>
              <a:gd name="T41" fmla="*/ 7281781 h 293329"/>
              <a:gd name="T42" fmla="*/ 9014307 w 293328"/>
              <a:gd name="T43" fmla="*/ 7449969 h 293329"/>
              <a:gd name="T44" fmla="*/ 8871194 w 293328"/>
              <a:gd name="T45" fmla="*/ 7553595 h 293329"/>
              <a:gd name="T46" fmla="*/ 7153804 w 293328"/>
              <a:gd name="T47" fmla="*/ 7553595 h 293329"/>
              <a:gd name="T48" fmla="*/ 7036686 w 293328"/>
              <a:gd name="T49" fmla="*/ 7501807 h 293329"/>
              <a:gd name="T50" fmla="*/ 4889866 w 293328"/>
              <a:gd name="T51" fmla="*/ 5378914 h 293329"/>
              <a:gd name="T52" fmla="*/ 4850796 w 293328"/>
              <a:gd name="T53" fmla="*/ 5262395 h 293329"/>
              <a:gd name="T54" fmla="*/ 4889866 w 293328"/>
              <a:gd name="T55" fmla="*/ 5145899 h 293329"/>
              <a:gd name="T56" fmla="*/ 7036686 w 293328"/>
              <a:gd name="T57" fmla="*/ 3010108 h 293329"/>
              <a:gd name="T58" fmla="*/ 7153804 w 293328"/>
              <a:gd name="T59" fmla="*/ 2958268 h 293329"/>
              <a:gd name="T60" fmla="*/ 3470917 w 293328"/>
              <a:gd name="T61" fmla="*/ 2958268 h 293329"/>
              <a:gd name="T62" fmla="*/ 5188376 w 293328"/>
              <a:gd name="T63" fmla="*/ 2958268 h 293329"/>
              <a:gd name="T64" fmla="*/ 5331496 w 293328"/>
              <a:gd name="T65" fmla="*/ 3061939 h 293329"/>
              <a:gd name="T66" fmla="*/ 5292447 w 293328"/>
              <a:gd name="T67" fmla="*/ 3230171 h 293329"/>
              <a:gd name="T68" fmla="*/ 3262740 w 293328"/>
              <a:gd name="T69" fmla="*/ 5262395 h 293329"/>
              <a:gd name="T70" fmla="*/ 5292447 w 293328"/>
              <a:gd name="T71" fmla="*/ 7281781 h 293329"/>
              <a:gd name="T72" fmla="*/ 5331496 w 293328"/>
              <a:gd name="T73" fmla="*/ 7449969 h 293329"/>
              <a:gd name="T74" fmla="*/ 5188376 w 293328"/>
              <a:gd name="T75" fmla="*/ 7553595 h 293329"/>
              <a:gd name="T76" fmla="*/ 3470917 w 293328"/>
              <a:gd name="T77" fmla="*/ 7553595 h 293329"/>
              <a:gd name="T78" fmla="*/ 3353800 w 293328"/>
              <a:gd name="T79" fmla="*/ 7501807 h 293329"/>
              <a:gd name="T80" fmla="*/ 1207056 w 293328"/>
              <a:gd name="T81" fmla="*/ 5378914 h 293329"/>
              <a:gd name="T82" fmla="*/ 1154942 w 293328"/>
              <a:gd name="T83" fmla="*/ 5262395 h 293329"/>
              <a:gd name="T84" fmla="*/ 1207056 w 293328"/>
              <a:gd name="T85" fmla="*/ 5145899 h 293329"/>
              <a:gd name="T86" fmla="*/ 3353800 w 293328"/>
              <a:gd name="T87" fmla="*/ 3010108 h 293329"/>
              <a:gd name="T88" fmla="*/ 3470917 w 293328"/>
              <a:gd name="T89" fmla="*/ 2958268 h 293329"/>
              <a:gd name="T90" fmla="*/ 5335135 w 293328"/>
              <a:gd name="T91" fmla="*/ 309249 h 293329"/>
              <a:gd name="T92" fmla="*/ 326907 w 293328"/>
              <a:gd name="T93" fmla="*/ 5255962 h 293329"/>
              <a:gd name="T94" fmla="*/ 5335135 w 293328"/>
              <a:gd name="T95" fmla="*/ 10189890 h 293329"/>
              <a:gd name="T96" fmla="*/ 10343292 w 293328"/>
              <a:gd name="T97" fmla="*/ 5255962 h 293329"/>
              <a:gd name="T98" fmla="*/ 5335135 w 293328"/>
              <a:gd name="T99" fmla="*/ 309249 h 293329"/>
              <a:gd name="T100" fmla="*/ 5335135 w 293328"/>
              <a:gd name="T101" fmla="*/ 0 h 293329"/>
              <a:gd name="T102" fmla="*/ 10670198 w 293328"/>
              <a:gd name="T103" fmla="*/ 5255962 h 293329"/>
              <a:gd name="T104" fmla="*/ 5335135 w 293328"/>
              <a:gd name="T105" fmla="*/ 10511952 h 293329"/>
              <a:gd name="T106" fmla="*/ 0 w 293328"/>
              <a:gd name="T107" fmla="*/ 5255962 h 293329"/>
              <a:gd name="T108" fmla="*/ 5335135 w 293328"/>
              <a:gd name="T109" fmla="*/ 0 h 29332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3328" h="293329">
                <a:moveTo>
                  <a:pt x="198805" y="91580"/>
                </a:moveTo>
                <a:lnTo>
                  <a:pt x="144080" y="146844"/>
                </a:lnTo>
                <a:lnTo>
                  <a:pt x="198805" y="201747"/>
                </a:lnTo>
                <a:lnTo>
                  <a:pt x="233142" y="201747"/>
                </a:lnTo>
                <a:lnTo>
                  <a:pt x="181994" y="150095"/>
                </a:lnTo>
                <a:cubicBezTo>
                  <a:pt x="180206" y="148289"/>
                  <a:pt x="180206" y="145038"/>
                  <a:pt x="181994" y="143593"/>
                </a:cubicBezTo>
                <a:lnTo>
                  <a:pt x="233142" y="91580"/>
                </a:lnTo>
                <a:lnTo>
                  <a:pt x="198805" y="91580"/>
                </a:lnTo>
                <a:close/>
                <a:moveTo>
                  <a:pt x="96847" y="91580"/>
                </a:moveTo>
                <a:lnTo>
                  <a:pt x="42480" y="146844"/>
                </a:lnTo>
                <a:lnTo>
                  <a:pt x="96847" y="201747"/>
                </a:lnTo>
                <a:lnTo>
                  <a:pt x="131899" y="201747"/>
                </a:lnTo>
                <a:lnTo>
                  <a:pt x="80394" y="150095"/>
                </a:lnTo>
                <a:cubicBezTo>
                  <a:pt x="79678" y="149011"/>
                  <a:pt x="78963" y="147928"/>
                  <a:pt x="78963" y="146844"/>
                </a:cubicBezTo>
                <a:cubicBezTo>
                  <a:pt x="78963" y="145399"/>
                  <a:pt x="79678" y="144316"/>
                  <a:pt x="80394" y="143593"/>
                </a:cubicBezTo>
                <a:lnTo>
                  <a:pt x="131899" y="91580"/>
                </a:lnTo>
                <a:lnTo>
                  <a:pt x="96847" y="91580"/>
                </a:lnTo>
                <a:close/>
                <a:moveTo>
                  <a:pt x="196659" y="82550"/>
                </a:moveTo>
                <a:lnTo>
                  <a:pt x="243872" y="82550"/>
                </a:lnTo>
                <a:cubicBezTo>
                  <a:pt x="245660" y="82550"/>
                  <a:pt x="247449" y="83634"/>
                  <a:pt x="247806" y="85440"/>
                </a:cubicBezTo>
                <a:cubicBezTo>
                  <a:pt x="248879" y="87246"/>
                  <a:pt x="248522" y="89052"/>
                  <a:pt x="247091" y="90135"/>
                </a:cubicBezTo>
                <a:lnTo>
                  <a:pt x="191294" y="146844"/>
                </a:lnTo>
                <a:lnTo>
                  <a:pt x="247091" y="203192"/>
                </a:lnTo>
                <a:cubicBezTo>
                  <a:pt x="248522" y="204275"/>
                  <a:pt x="248879" y="206442"/>
                  <a:pt x="247806" y="207887"/>
                </a:cubicBezTo>
                <a:cubicBezTo>
                  <a:pt x="247449" y="209693"/>
                  <a:pt x="245660" y="210777"/>
                  <a:pt x="243872" y="210777"/>
                </a:cubicBezTo>
                <a:lnTo>
                  <a:pt x="196659" y="210777"/>
                </a:lnTo>
                <a:cubicBezTo>
                  <a:pt x="195586" y="210777"/>
                  <a:pt x="194513" y="210416"/>
                  <a:pt x="193440" y="209332"/>
                </a:cubicBezTo>
                <a:lnTo>
                  <a:pt x="134423" y="150095"/>
                </a:lnTo>
                <a:cubicBezTo>
                  <a:pt x="133708" y="149011"/>
                  <a:pt x="133350" y="147928"/>
                  <a:pt x="133350" y="146844"/>
                </a:cubicBezTo>
                <a:cubicBezTo>
                  <a:pt x="133350" y="145399"/>
                  <a:pt x="133708" y="144316"/>
                  <a:pt x="134423" y="143593"/>
                </a:cubicBezTo>
                <a:lnTo>
                  <a:pt x="193440" y="83995"/>
                </a:lnTo>
                <a:cubicBezTo>
                  <a:pt x="194513" y="82911"/>
                  <a:pt x="195586" y="82550"/>
                  <a:pt x="196659" y="82550"/>
                </a:cubicBezTo>
                <a:close/>
                <a:moveTo>
                  <a:pt x="95416" y="82550"/>
                </a:moveTo>
                <a:lnTo>
                  <a:pt x="142630" y="82550"/>
                </a:lnTo>
                <a:cubicBezTo>
                  <a:pt x="144418" y="82550"/>
                  <a:pt x="145849" y="83634"/>
                  <a:pt x="146564" y="85440"/>
                </a:cubicBezTo>
                <a:cubicBezTo>
                  <a:pt x="147279" y="87246"/>
                  <a:pt x="146922" y="89052"/>
                  <a:pt x="145491" y="90135"/>
                </a:cubicBezTo>
                <a:lnTo>
                  <a:pt x="89693" y="146844"/>
                </a:lnTo>
                <a:lnTo>
                  <a:pt x="145491" y="203192"/>
                </a:lnTo>
                <a:cubicBezTo>
                  <a:pt x="146922" y="204275"/>
                  <a:pt x="147279" y="206442"/>
                  <a:pt x="146564" y="207887"/>
                </a:cubicBezTo>
                <a:cubicBezTo>
                  <a:pt x="145849" y="209693"/>
                  <a:pt x="144418" y="210777"/>
                  <a:pt x="142630" y="210777"/>
                </a:cubicBezTo>
                <a:lnTo>
                  <a:pt x="95416" y="210777"/>
                </a:lnTo>
                <a:cubicBezTo>
                  <a:pt x="93985" y="210777"/>
                  <a:pt x="92912" y="210416"/>
                  <a:pt x="92197" y="209332"/>
                </a:cubicBezTo>
                <a:lnTo>
                  <a:pt x="33181" y="150095"/>
                </a:lnTo>
                <a:cubicBezTo>
                  <a:pt x="32108" y="149011"/>
                  <a:pt x="31750" y="147928"/>
                  <a:pt x="31750" y="146844"/>
                </a:cubicBezTo>
                <a:cubicBezTo>
                  <a:pt x="31750" y="145399"/>
                  <a:pt x="32108" y="144316"/>
                  <a:pt x="33181" y="143593"/>
                </a:cubicBezTo>
                <a:lnTo>
                  <a:pt x="92197" y="83995"/>
                </a:lnTo>
                <a:cubicBezTo>
                  <a:pt x="92912" y="82911"/>
                  <a:pt x="93985" y="82550"/>
                  <a:pt x="95416" y="82550"/>
                </a:cubicBezTo>
                <a:close/>
                <a:moveTo>
                  <a:pt x="146664" y="8627"/>
                </a:moveTo>
                <a:cubicBezTo>
                  <a:pt x="70815" y="8627"/>
                  <a:pt x="8987" y="70816"/>
                  <a:pt x="8987" y="146664"/>
                </a:cubicBezTo>
                <a:cubicBezTo>
                  <a:pt x="8987" y="222513"/>
                  <a:pt x="70815" y="284342"/>
                  <a:pt x="146664" y="284342"/>
                </a:cubicBezTo>
                <a:cubicBezTo>
                  <a:pt x="222872" y="284342"/>
                  <a:pt x="284341" y="222513"/>
                  <a:pt x="284341" y="146664"/>
                </a:cubicBezTo>
                <a:cubicBezTo>
                  <a:pt x="284341" y="70816"/>
                  <a:pt x="222872" y="8627"/>
                  <a:pt x="146664" y="8627"/>
                </a:cubicBezTo>
                <a:close/>
                <a:moveTo>
                  <a:pt x="146664" y="0"/>
                </a:moveTo>
                <a:cubicBezTo>
                  <a:pt x="227545" y="0"/>
                  <a:pt x="293328" y="65783"/>
                  <a:pt x="293328" y="146664"/>
                </a:cubicBezTo>
                <a:cubicBezTo>
                  <a:pt x="293328" y="227545"/>
                  <a:pt x="227545" y="293329"/>
                  <a:pt x="146664" y="293329"/>
                </a:cubicBezTo>
                <a:cubicBezTo>
                  <a:pt x="66142" y="293329"/>
                  <a:pt x="0" y="227545"/>
                  <a:pt x="0" y="146664"/>
                </a:cubicBezTo>
                <a:cubicBezTo>
                  <a:pt x="0" y="65783"/>
                  <a:pt x="66142" y="0"/>
                  <a:pt x="146664" y="0"/>
                </a:cubicBezTo>
                <a:close/>
              </a:path>
            </a:pathLst>
          </a:custGeom>
          <a:solidFill>
            <a:schemeClr val="tx1"/>
          </a:solidFill>
          <a:ln>
            <a:noFill/>
          </a:ln>
        </p:spPr>
        <p:txBody>
          <a:bodyPr anchor="ctr"/>
          <a:lstStyle/>
          <a:p>
            <a:endParaRPr lang="en-US">
              <a:solidFill>
                <a:schemeClr val="accent1"/>
              </a:solidFill>
            </a:endParaRPr>
          </a:p>
        </p:txBody>
      </p:sp>
      <p:grpSp>
        <p:nvGrpSpPr>
          <p:cNvPr id="116" name="Group 115"/>
          <p:cNvGrpSpPr>
            <a:grpSpLocks noChangeAspect="1"/>
          </p:cNvGrpSpPr>
          <p:nvPr/>
        </p:nvGrpSpPr>
        <p:grpSpPr>
          <a:xfrm>
            <a:off x="458502" y="2923913"/>
            <a:ext cx="833078" cy="801253"/>
            <a:chOff x="400564" y="2921990"/>
            <a:chExt cx="608002" cy="584775"/>
          </a:xfrm>
        </p:grpSpPr>
        <p:sp>
          <p:nvSpPr>
            <p:cNvPr id="114" name="Rectangle 113"/>
            <p:cNvSpPr/>
            <p:nvPr/>
          </p:nvSpPr>
          <p:spPr>
            <a:xfrm>
              <a:off x="400564" y="2921990"/>
              <a:ext cx="608002" cy="584775"/>
            </a:xfrm>
            <a:prstGeom prst="rect">
              <a:avLst/>
            </a:prstGeom>
            <a:solidFill>
              <a:srgbClr val="006B87"/>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Shape 2605">
              <a:extLst>
                <a:ext uri="{FF2B5EF4-FFF2-40B4-BE49-F238E27FC236}">
                  <a16:creationId xmlns:a16="http://schemas.microsoft.com/office/drawing/2014/main" id="{77DDDBBE-846C-284E-B47F-4A88D0A93CA3}"/>
                </a:ext>
              </a:extLst>
            </p:cNvPr>
            <p:cNvSpPr>
              <a:spLocks noChangeAspect="1"/>
            </p:cNvSpPr>
            <p:nvPr/>
          </p:nvSpPr>
          <p:spPr>
            <a:xfrm>
              <a:off x="519927" y="3021504"/>
              <a:ext cx="385755" cy="385745"/>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1"/>
            </a:solidFill>
            <a:ln w="12700">
              <a:miter lim="400000"/>
            </a:ln>
          </p:spPr>
          <p:txBody>
            <a:bodyPr lIns="38090" tIns="38090" rIns="38090" bIns="38090" anchor="ctr"/>
            <a:lstStyle/>
            <a:p>
              <a:pPr marL="0" marR="0" lvl="0" indent="0" defTabSz="457063"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2999" b="1" i="0" u="none" strike="noStrike" kern="0" cap="none" spc="0" normalizeH="0" baseline="0" noProof="0" dirty="0">
                <a:ln>
                  <a:noFill/>
                </a:ln>
                <a:solidFill>
                  <a:srgbClr val="FFFFFF"/>
                </a:solidFill>
                <a:effectLst>
                  <a:outerShdw blurRad="38100" dist="12700" dir="5400000" rotWithShape="0">
                    <a:srgbClr val="000000">
                      <a:alpha val="50000"/>
                    </a:srgbClr>
                  </a:outerShdw>
                </a:effectLst>
                <a:uLnTx/>
                <a:uFillTx/>
                <a:latin typeface="Open Sans Semibold" charset="0"/>
                <a:ea typeface="Open Sans Semibold" charset="0"/>
                <a:cs typeface="Open Sans Semibold" charset="0"/>
                <a:sym typeface="Gill Sans"/>
              </a:endParaRPr>
            </a:p>
          </p:txBody>
        </p:sp>
      </p:grpSp>
    </p:spTree>
    <p:extLst>
      <p:ext uri="{BB962C8B-B14F-4D97-AF65-F5344CB8AC3E}">
        <p14:creationId xmlns:p14="http://schemas.microsoft.com/office/powerpoint/2010/main" val="32270449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ctr">
            <a:normAutofit/>
          </a:bodyPr>
          <a:lstStyle/>
          <a:p>
            <a:pPr algn="ctr"/>
            <a:r>
              <a:rPr lang="en-US" sz="4800" dirty="0"/>
              <a:t>¡Gracias!
¿</a:t>
            </a:r>
            <a:r>
              <a:rPr lang="en-US" sz="4800" dirty="0" err="1"/>
              <a:t>Preguntas</a:t>
            </a:r>
            <a:r>
              <a:rPr lang="en-US" sz="4800" dirty="0"/>
              <a:t>?
</a:t>
            </a:r>
          </a:p>
        </p:txBody>
      </p:sp>
      <p:sp>
        <p:nvSpPr>
          <p:cNvPr id="4" name="TextBox 3">
            <a:extLst>
              <a:ext uri="{FF2B5EF4-FFF2-40B4-BE49-F238E27FC236}">
                <a16:creationId xmlns:a16="http://schemas.microsoft.com/office/drawing/2014/main" id="{4040C350-A003-5341-56CF-7F071171FDF4}"/>
              </a:ext>
            </a:extLst>
          </p:cNvPr>
          <p:cNvSpPr txBox="1"/>
          <p:nvPr/>
        </p:nvSpPr>
        <p:spPr>
          <a:xfrm>
            <a:off x="1178296" y="4003496"/>
            <a:ext cx="6097836" cy="1200329"/>
          </a:xfrm>
          <a:prstGeom prst="rect">
            <a:avLst/>
          </a:prstGeom>
          <a:noFill/>
        </p:spPr>
        <p:txBody>
          <a:bodyPr wrap="square">
            <a:spAutoFit/>
          </a:bodyPr>
          <a:lstStyle/>
          <a:p>
            <a:pPr algn="ctr"/>
            <a:r>
              <a:rPr lang="en-US" dirty="0"/>
              <a:t>Javier Trujillo</a:t>
            </a:r>
          </a:p>
          <a:p>
            <a:pPr algn="ctr"/>
            <a:r>
              <a:rPr lang="en-US" dirty="0"/>
              <a:t>            </a:t>
            </a:r>
            <a:r>
              <a:rPr lang="en-US" b="1" dirty="0"/>
              <a:t>Head of Business Development for Latin America </a:t>
            </a:r>
          </a:p>
          <a:p>
            <a:pPr algn="ctr"/>
            <a:r>
              <a:rPr lang="en-US" dirty="0"/>
              <a:t> </a:t>
            </a:r>
          </a:p>
          <a:p>
            <a:pPr algn="ctr"/>
            <a:r>
              <a:rPr lang="en-US" dirty="0"/>
              <a:t>               M  +1 786-334 1786 | jtrujillo@sontiq.com</a:t>
            </a:r>
          </a:p>
        </p:txBody>
      </p:sp>
    </p:spTree>
    <p:extLst>
      <p:ext uri="{BB962C8B-B14F-4D97-AF65-F5344CB8AC3E}">
        <p14:creationId xmlns:p14="http://schemas.microsoft.com/office/powerpoint/2010/main" val="302464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02FCF5F-81E4-FB68-4D5D-3A17DA4DD04A}"/>
              </a:ext>
            </a:extLst>
          </p:cNvPr>
          <p:cNvSpPr>
            <a:spLocks noGrp="1"/>
          </p:cNvSpPr>
          <p:nvPr>
            <p:ph type="title"/>
          </p:nvPr>
        </p:nvSpPr>
        <p:spPr>
          <a:xfrm>
            <a:off x="630936" y="639520"/>
            <a:ext cx="3429000" cy="1719072"/>
          </a:xfrm>
        </p:spPr>
        <p:txBody>
          <a:bodyPr vert="horz" lIns="91440" tIns="45720" rIns="91440" bIns="45720" rtlCol="0" anchor="b">
            <a:normAutofit/>
          </a:bodyPr>
          <a:lstStyle/>
          <a:p>
            <a:pPr algn="ctr"/>
            <a:r>
              <a:rPr lang="en-US" sz="3000" b="1" kern="1200" dirty="0" err="1">
                <a:solidFill>
                  <a:schemeClr val="tx1"/>
                </a:solidFill>
                <a:latin typeface="+mj-lt"/>
                <a:ea typeface="+mj-ea"/>
                <a:cs typeface="+mj-cs"/>
              </a:rPr>
              <a:t>Ciberataques</a:t>
            </a:r>
            <a:r>
              <a:rPr lang="en-US" sz="3000" b="1" kern="1200" dirty="0">
                <a:solidFill>
                  <a:schemeClr val="tx1"/>
                </a:solidFill>
                <a:latin typeface="+mj-lt"/>
                <a:ea typeface="+mj-ea"/>
                <a:cs typeface="+mj-cs"/>
              </a:rPr>
              <a:t> </a:t>
            </a:r>
            <a:r>
              <a:rPr lang="en-US" sz="3000" b="1" kern="1200" dirty="0" err="1">
                <a:solidFill>
                  <a:schemeClr val="tx1"/>
                </a:solidFill>
                <a:latin typeface="+mj-lt"/>
                <a:ea typeface="+mj-ea"/>
                <a:cs typeface="+mj-cs"/>
              </a:rPr>
              <a:t>en</a:t>
            </a:r>
            <a:r>
              <a:rPr lang="en-US" sz="3000" b="1" kern="1200" dirty="0">
                <a:solidFill>
                  <a:schemeClr val="tx1"/>
                </a:solidFill>
                <a:latin typeface="+mj-lt"/>
                <a:ea typeface="+mj-ea"/>
                <a:cs typeface="+mj-cs"/>
              </a:rPr>
              <a:t> </a:t>
            </a:r>
            <a:r>
              <a:rPr lang="es-MX" sz="3000" b="1" kern="1200" dirty="0">
                <a:solidFill>
                  <a:schemeClr val="tx1"/>
                </a:solidFill>
                <a:latin typeface="+mj-lt"/>
                <a:ea typeface="+mj-ea"/>
                <a:cs typeface="+mj-cs"/>
              </a:rPr>
              <a:t>América Latina </a:t>
            </a:r>
            <a:r>
              <a:rPr lang="en-US" sz="3000" b="1" kern="1200" dirty="0">
                <a:solidFill>
                  <a:schemeClr val="tx1"/>
                </a:solidFill>
                <a:latin typeface="+mj-lt"/>
                <a:ea typeface="+mj-ea"/>
                <a:cs typeface="+mj-cs"/>
              </a:rPr>
              <a:t>y </a:t>
            </a:r>
            <a:r>
              <a:rPr lang="en-US" sz="3000" b="1" kern="1200" dirty="0" err="1">
                <a:solidFill>
                  <a:schemeClr val="tx1"/>
                </a:solidFill>
                <a:latin typeface="+mj-lt"/>
                <a:ea typeface="+mj-ea"/>
                <a:cs typeface="+mj-cs"/>
              </a:rPr>
              <a:t>el</a:t>
            </a:r>
            <a:r>
              <a:rPr lang="en-US" sz="3000" b="1" kern="1200" dirty="0">
                <a:solidFill>
                  <a:schemeClr val="tx1"/>
                </a:solidFill>
                <a:latin typeface="+mj-lt"/>
                <a:ea typeface="+mj-ea"/>
                <a:cs typeface="+mj-cs"/>
              </a:rPr>
              <a:t> Caribe 2021-2022</a:t>
            </a:r>
          </a:p>
        </p:txBody>
      </p:sp>
      <p:sp>
        <p:nvSpPr>
          <p:cNvPr id="5" name="Content Placeholder 2">
            <a:extLst>
              <a:ext uri="{FF2B5EF4-FFF2-40B4-BE49-F238E27FC236}">
                <a16:creationId xmlns:a16="http://schemas.microsoft.com/office/drawing/2014/main" id="{BC2AAB22-059B-98BD-2ECE-F7AB087724A2}"/>
              </a:ext>
            </a:extLst>
          </p:cNvPr>
          <p:cNvSpPr>
            <a:spLocks noGrp="1"/>
          </p:cNvSpPr>
          <p:nvPr>
            <p:ph idx="1"/>
          </p:nvPr>
        </p:nvSpPr>
        <p:spPr>
          <a:xfrm>
            <a:off x="630936" y="2807208"/>
            <a:ext cx="4125166" cy="3410712"/>
          </a:xfrm>
        </p:spPr>
        <p:txBody>
          <a:bodyPr vert="horz" lIns="91440" tIns="45720" rIns="91440" bIns="45720" rtlCol="0" anchor="t">
            <a:normAutofit fontScale="77500" lnSpcReduction="20000"/>
          </a:bodyPr>
          <a:lstStyle/>
          <a:p>
            <a:pPr algn="just"/>
            <a:r>
              <a:rPr lang="es-MX" sz="2600" b="1" dirty="0">
                <a:latin typeface="+mn-lt"/>
                <a:cs typeface="+mn-cs"/>
              </a:rPr>
              <a:t>600% </a:t>
            </a:r>
            <a:r>
              <a:rPr lang="es-MX" sz="2600" dirty="0">
                <a:latin typeface="+mn-lt"/>
                <a:cs typeface="+mn-cs"/>
              </a:rPr>
              <a:t>el aumento de ciberataques </a:t>
            </a:r>
            <a:r>
              <a:rPr lang="es-MX" sz="1200" dirty="0">
                <a:latin typeface="+mn-lt"/>
                <a:cs typeface="+mn-cs"/>
              </a:rPr>
              <a:t>1</a:t>
            </a:r>
          </a:p>
          <a:p>
            <a:pPr algn="just"/>
            <a:r>
              <a:rPr lang="es-MX" sz="2600" b="1" dirty="0">
                <a:latin typeface="+mn-lt"/>
                <a:cs typeface="+mn-cs"/>
              </a:rPr>
              <a:t>289 millones de intentos </a:t>
            </a:r>
            <a:r>
              <a:rPr lang="es-MX" sz="2600" dirty="0">
                <a:latin typeface="+mn-lt"/>
                <a:cs typeface="+mn-cs"/>
              </a:rPr>
              <a:t>solo en 2021</a:t>
            </a:r>
          </a:p>
          <a:p>
            <a:pPr algn="just"/>
            <a:r>
              <a:rPr lang="es-MX" sz="2600" b="1" dirty="0">
                <a:latin typeface="+mn-lt"/>
                <a:cs typeface="+mn-cs"/>
              </a:rPr>
              <a:t>México y Brasil </a:t>
            </a:r>
            <a:r>
              <a:rPr lang="es-MX" sz="2600" dirty="0">
                <a:latin typeface="+mn-lt"/>
                <a:cs typeface="+mn-cs"/>
              </a:rPr>
              <a:t>cuentan con un </a:t>
            </a:r>
            <a:r>
              <a:rPr lang="es-MX" sz="2600" b="1" dirty="0">
                <a:latin typeface="+mn-lt"/>
                <a:cs typeface="+mn-cs"/>
              </a:rPr>
              <a:t>84%</a:t>
            </a:r>
            <a:r>
              <a:rPr lang="es-MX" sz="2600" dirty="0">
                <a:latin typeface="+mn-lt"/>
                <a:cs typeface="+mn-cs"/>
              </a:rPr>
              <a:t> de los ataques</a:t>
            </a:r>
          </a:p>
          <a:p>
            <a:pPr algn="just"/>
            <a:r>
              <a:rPr lang="es-MX" sz="2600" b="1" dirty="0">
                <a:latin typeface="+mn-lt"/>
                <a:cs typeface="+mn-cs"/>
              </a:rPr>
              <a:t>46% de las empresas</a:t>
            </a:r>
            <a:r>
              <a:rPr lang="es-MX" sz="2600" dirty="0">
                <a:latin typeface="+mn-lt"/>
                <a:cs typeface="+mn-cs"/>
              </a:rPr>
              <a:t> sufrieron algún tipo de taque cibernético 2 </a:t>
            </a:r>
          </a:p>
          <a:p>
            <a:pPr algn="just"/>
            <a:r>
              <a:rPr lang="es-MX" sz="2600" dirty="0">
                <a:latin typeface="+mn-lt"/>
                <a:cs typeface="+mn-cs"/>
              </a:rPr>
              <a:t>Aumento relacionado con el mayor numero de personas conectadas de forma remota y personas utilizando mas sus teléfonos para transacciones en línea </a:t>
            </a:r>
          </a:p>
          <a:p>
            <a:pPr algn="just"/>
            <a:endParaRPr lang="en-US" sz="1700" dirty="0">
              <a:latin typeface="+mn-lt"/>
              <a:cs typeface="+mn-cs"/>
            </a:endParaRPr>
          </a:p>
        </p:txBody>
      </p:sp>
      <p:pic>
        <p:nvPicPr>
          <p:cNvPr id="6" name="Picture 2">
            <a:extLst>
              <a:ext uri="{FF2B5EF4-FFF2-40B4-BE49-F238E27FC236}">
                <a16:creationId xmlns:a16="http://schemas.microsoft.com/office/drawing/2014/main" id="{E3DB8D23-BC95-ABD3-C450-CAB0C49E6AC9}"/>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756102" y="640080"/>
            <a:ext cx="6700108" cy="5577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7859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5457"/>
          <a:stretch/>
        </p:blipFill>
        <p:spPr>
          <a:xfrm>
            <a:off x="0" y="-13648"/>
            <a:ext cx="12192000" cy="6871648"/>
          </a:xfrm>
          <a:prstGeom prst="rect">
            <a:avLst/>
          </a:prstGeom>
        </p:spPr>
      </p:pic>
      <p:sp>
        <p:nvSpPr>
          <p:cNvPr id="6" name="Rectangle 5"/>
          <p:cNvSpPr/>
          <p:nvPr/>
        </p:nvSpPr>
        <p:spPr>
          <a:xfrm>
            <a:off x="0" y="-13648"/>
            <a:ext cx="12192000" cy="6871648"/>
          </a:xfrm>
          <a:prstGeom prst="rect">
            <a:avLst/>
          </a:prstGeom>
          <a:solidFill>
            <a:srgbClr val="00A6C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Chart 18"/>
          <p:cNvGraphicFramePr/>
          <p:nvPr/>
        </p:nvGraphicFramePr>
        <p:xfrm>
          <a:off x="5632541" y="3512747"/>
          <a:ext cx="2796845" cy="19709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p:cNvGraphicFramePr/>
          <p:nvPr/>
        </p:nvGraphicFramePr>
        <p:xfrm>
          <a:off x="5632541" y="993774"/>
          <a:ext cx="2709218" cy="1985664"/>
        </p:xfrm>
        <a:graphic>
          <a:graphicData uri="http://schemas.openxmlformats.org/drawingml/2006/chart">
            <c:chart xmlns:c="http://schemas.openxmlformats.org/drawingml/2006/chart" xmlns:r="http://schemas.openxmlformats.org/officeDocument/2006/relationships" r:id="rId5"/>
          </a:graphicData>
        </a:graphic>
      </p:graphicFrame>
      <p:sp>
        <p:nvSpPr>
          <p:cNvPr id="21" name="Rectangle 20"/>
          <p:cNvSpPr/>
          <p:nvPr/>
        </p:nvSpPr>
        <p:spPr>
          <a:xfrm>
            <a:off x="7963831" y="3828767"/>
            <a:ext cx="3592823" cy="2171044"/>
          </a:xfrm>
          <a:prstGeom prst="rect">
            <a:avLst/>
          </a:prstGeom>
        </p:spPr>
        <p:txBody>
          <a:bodyPr wrap="square">
            <a:spAutoFit/>
          </a:bodyPr>
          <a:lstStyle/>
          <a:p>
            <a:pPr>
              <a:lnSpc>
                <a:spcPct val="110000"/>
              </a:lnSpc>
            </a:pPr>
            <a:endParaRPr lang="en-US" sz="1050" b="1" dirty="0">
              <a:solidFill>
                <a:schemeClr val="bg1"/>
              </a:solidFill>
              <a:latin typeface="Arial"/>
            </a:endParaRPr>
          </a:p>
          <a:p>
            <a:pPr>
              <a:lnSpc>
                <a:spcPct val="110000"/>
              </a:lnSpc>
            </a:pPr>
            <a:r>
              <a:rPr lang="es-ES" sz="2000" b="1" dirty="0">
                <a:solidFill>
                  <a:schemeClr val="bg1"/>
                </a:solidFill>
                <a:latin typeface="Arial"/>
              </a:rPr>
              <a:t>De los consumidores globales fueron víctimas de fraude de identidad a medida que aumentan las compras en línea</a:t>
            </a:r>
            <a:r>
              <a:rPr lang="es-ES" sz="900" b="1" dirty="0">
                <a:solidFill>
                  <a:schemeClr val="bg1"/>
                </a:solidFill>
                <a:latin typeface="Arial"/>
              </a:rPr>
              <a:t>6</a:t>
            </a:r>
            <a:r>
              <a:rPr lang="es-ES" sz="2000" b="1" dirty="0">
                <a:solidFill>
                  <a:schemeClr val="bg1"/>
                </a:solidFill>
                <a:latin typeface="Arial"/>
              </a:rPr>
              <a:t>
</a:t>
            </a:r>
            <a:endParaRPr lang="en-US" sz="2000" b="1" baseline="30000" dirty="0">
              <a:solidFill>
                <a:schemeClr val="bg1"/>
              </a:solidFill>
              <a:latin typeface="Arial"/>
            </a:endParaRPr>
          </a:p>
        </p:txBody>
      </p:sp>
      <p:sp>
        <p:nvSpPr>
          <p:cNvPr id="23" name="Rectangle 22"/>
          <p:cNvSpPr/>
          <p:nvPr/>
        </p:nvSpPr>
        <p:spPr>
          <a:xfrm>
            <a:off x="7963831" y="1242710"/>
            <a:ext cx="3630234" cy="2331857"/>
          </a:xfrm>
          <a:prstGeom prst="rect">
            <a:avLst/>
          </a:prstGeom>
        </p:spPr>
        <p:txBody>
          <a:bodyPr wrap="square">
            <a:spAutoFit/>
          </a:bodyPr>
          <a:lstStyle/>
          <a:p>
            <a:pPr>
              <a:lnSpc>
                <a:spcPct val="110000"/>
              </a:lnSpc>
            </a:pPr>
            <a:r>
              <a:rPr lang="es-ES" sz="2000" b="1" dirty="0">
                <a:solidFill>
                  <a:schemeClr val="bg1"/>
                </a:solidFill>
                <a:latin typeface="Arial"/>
              </a:rPr>
              <a:t>De las empresas han sufrido un incidente de ciberseguridad como resultado directo de los equipos que trabajan de forma remota</a:t>
            </a:r>
            <a:r>
              <a:rPr lang="es-ES" sz="900" b="1" dirty="0">
                <a:solidFill>
                  <a:schemeClr val="bg1"/>
                </a:solidFill>
                <a:latin typeface="Arial"/>
              </a:rPr>
              <a:t>5</a:t>
            </a:r>
            <a:r>
              <a:rPr lang="es-ES" sz="2000" b="1" dirty="0">
                <a:solidFill>
                  <a:schemeClr val="bg1"/>
                </a:solidFill>
                <a:latin typeface="Arial"/>
              </a:rPr>
              <a:t>
</a:t>
            </a:r>
            <a:endParaRPr lang="en-US" sz="2000" b="1" baseline="30000" dirty="0">
              <a:solidFill>
                <a:schemeClr val="bg1"/>
              </a:solidFill>
              <a:latin typeface="Arial"/>
            </a:endParaRPr>
          </a:p>
        </p:txBody>
      </p:sp>
      <p:sp>
        <p:nvSpPr>
          <p:cNvPr id="32" name="Rectangle 31"/>
          <p:cNvSpPr/>
          <p:nvPr/>
        </p:nvSpPr>
        <p:spPr>
          <a:xfrm>
            <a:off x="339406" y="191695"/>
            <a:ext cx="5662700" cy="1493229"/>
          </a:xfrm>
          <a:prstGeom prst="rect">
            <a:avLst/>
          </a:prstGeom>
          <a:solidFill>
            <a:schemeClr val="bg1"/>
          </a:solidFill>
          <a:effectLst>
            <a:outerShdw blurRad="50800" dist="38100" dir="8100000" algn="tr" rotWithShape="0">
              <a:prstClr val="black">
                <a:alpha val="40000"/>
              </a:prstClr>
            </a:outerShdw>
          </a:effectLst>
        </p:spPr>
        <p:txBody>
          <a:bodyPr wrap="square">
            <a:spAutoFit/>
          </a:bodyPr>
          <a:lstStyle/>
          <a:p>
            <a:pPr>
              <a:lnSpc>
                <a:spcPct val="110000"/>
              </a:lnSpc>
            </a:pPr>
            <a:r>
              <a:rPr lang="es-ES" sz="2400" b="1" dirty="0">
                <a:solidFill>
                  <a:srgbClr val="006B87"/>
                </a:solidFill>
                <a:latin typeface="Arial"/>
              </a:rPr>
              <a:t>Cada 11 segundos
</a:t>
            </a:r>
            <a:r>
              <a:rPr lang="es-ES" sz="2000" b="1" dirty="0">
                <a:solidFill>
                  <a:srgbClr val="006B87"/>
                </a:solidFill>
                <a:latin typeface="Arial"/>
              </a:rPr>
              <a:t>se produjo un ataque de </a:t>
            </a:r>
            <a:r>
              <a:rPr lang="es-ES" sz="2000" b="1" dirty="0" err="1">
                <a:solidFill>
                  <a:srgbClr val="006B87"/>
                </a:solidFill>
                <a:latin typeface="Arial"/>
              </a:rPr>
              <a:t>ransomware</a:t>
            </a:r>
            <a:r>
              <a:rPr lang="es-ES" sz="2000" b="1" dirty="0">
                <a:solidFill>
                  <a:srgbClr val="006B87"/>
                </a:solidFill>
                <a:latin typeface="Arial"/>
              </a:rPr>
              <a:t> en 2021 </a:t>
            </a:r>
            <a:r>
              <a:rPr lang="es-ES" sz="2000" b="1" dirty="0">
                <a:latin typeface="Arial"/>
              </a:rPr>
              <a:t>(</a:t>
            </a:r>
            <a:r>
              <a:rPr lang="es-ES" sz="2000" b="1" dirty="0" err="1">
                <a:latin typeface="Arial"/>
              </a:rPr>
              <a:t>est</a:t>
            </a:r>
            <a:r>
              <a:rPr lang="es-ES" sz="2000" b="1" dirty="0">
                <a:latin typeface="Arial"/>
              </a:rPr>
              <a:t>. cada 2 segundos para 2031)</a:t>
            </a:r>
            <a:r>
              <a:rPr lang="es-ES" sz="900" b="1" dirty="0">
                <a:latin typeface="Arial"/>
              </a:rPr>
              <a:t>1</a:t>
            </a:r>
            <a:r>
              <a:rPr lang="es-ES" sz="2400" b="1" dirty="0">
                <a:solidFill>
                  <a:srgbClr val="006B87"/>
                </a:solidFill>
                <a:latin typeface="Arial"/>
              </a:rPr>
              <a:t>
</a:t>
            </a:r>
            <a:endParaRPr lang="en-US" sz="1600" baseline="30000" dirty="0">
              <a:solidFill>
                <a:srgbClr val="000000"/>
              </a:solidFill>
              <a:latin typeface="Arial"/>
            </a:endParaRPr>
          </a:p>
        </p:txBody>
      </p:sp>
      <p:sp>
        <p:nvSpPr>
          <p:cNvPr id="33" name="Rectangle 32"/>
          <p:cNvSpPr/>
          <p:nvPr/>
        </p:nvSpPr>
        <p:spPr>
          <a:xfrm>
            <a:off x="7613289" y="5911362"/>
            <a:ext cx="3958528" cy="276999"/>
          </a:xfrm>
          <a:prstGeom prst="rect">
            <a:avLst/>
          </a:prstGeom>
        </p:spPr>
        <p:txBody>
          <a:bodyPr wrap="square">
            <a:spAutoFit/>
          </a:bodyPr>
          <a:lstStyle/>
          <a:p>
            <a:endParaRPr lang="en-US" sz="1200" dirty="0">
              <a:solidFill>
                <a:schemeClr val="bg1"/>
              </a:solidFill>
              <a:latin typeface="Arial"/>
            </a:endParaRPr>
          </a:p>
        </p:txBody>
      </p:sp>
      <p:sp>
        <p:nvSpPr>
          <p:cNvPr id="34" name="Rectangle 33"/>
          <p:cNvSpPr/>
          <p:nvPr/>
        </p:nvSpPr>
        <p:spPr>
          <a:xfrm>
            <a:off x="341868" y="1888947"/>
            <a:ext cx="5662700" cy="1956689"/>
          </a:xfrm>
          <a:prstGeom prst="rect">
            <a:avLst/>
          </a:prstGeom>
          <a:solidFill>
            <a:schemeClr val="bg1"/>
          </a:solidFill>
          <a:effectLst>
            <a:outerShdw blurRad="50800" dist="38100" dir="8100000" algn="tr" rotWithShape="0">
              <a:prstClr val="black">
                <a:alpha val="40000"/>
              </a:prstClr>
            </a:outerShdw>
          </a:effectLst>
        </p:spPr>
        <p:txBody>
          <a:bodyPr wrap="square">
            <a:spAutoFit/>
          </a:bodyPr>
          <a:lstStyle/>
          <a:p>
            <a:pPr>
              <a:lnSpc>
                <a:spcPct val="110000"/>
              </a:lnSpc>
              <a:defRPr/>
            </a:pPr>
            <a:r>
              <a:rPr lang="es-ES" sz="2400" b="1" dirty="0">
                <a:solidFill>
                  <a:srgbClr val="006B87"/>
                </a:solidFill>
                <a:latin typeface="Arial"/>
              </a:rPr>
              <a:t>+667%
</a:t>
            </a:r>
            <a:r>
              <a:rPr lang="es-ES" sz="2000" b="1" dirty="0">
                <a:solidFill>
                  <a:srgbClr val="006B87"/>
                </a:solidFill>
                <a:latin typeface="Arial"/>
              </a:rPr>
              <a:t>aumento de los correos electrónicos de phishing en un solo mes </a:t>
            </a:r>
            <a:r>
              <a:rPr lang="es-ES" sz="2000" b="1" dirty="0">
                <a:latin typeface="Arial"/>
              </a:rPr>
              <a:t>(de febrero a marzo de 2021)</a:t>
            </a:r>
            <a:r>
              <a:rPr lang="es-ES" sz="900" b="1" dirty="0">
                <a:latin typeface="Arial"/>
              </a:rPr>
              <a:t>2</a:t>
            </a:r>
            <a:r>
              <a:rPr lang="es-ES" sz="2400" b="1" dirty="0">
                <a:solidFill>
                  <a:srgbClr val="006B87"/>
                </a:solidFill>
                <a:latin typeface="Arial"/>
              </a:rPr>
              <a:t>
</a:t>
            </a:r>
            <a:endParaRPr lang="en-US" sz="1600" dirty="0">
              <a:solidFill>
                <a:srgbClr val="000000"/>
              </a:solidFill>
              <a:latin typeface="Arial"/>
            </a:endParaRPr>
          </a:p>
        </p:txBody>
      </p:sp>
      <p:sp>
        <p:nvSpPr>
          <p:cNvPr id="36" name="Rectangle 35"/>
          <p:cNvSpPr/>
          <p:nvPr/>
        </p:nvSpPr>
        <p:spPr>
          <a:xfrm>
            <a:off x="375155" y="4030358"/>
            <a:ext cx="5629413" cy="1899494"/>
          </a:xfrm>
          <a:prstGeom prst="rect">
            <a:avLst/>
          </a:prstGeom>
          <a:solidFill>
            <a:schemeClr val="bg1"/>
          </a:solidFill>
          <a:effectLst>
            <a:outerShdw blurRad="50800" dist="38100" dir="8100000" algn="tr" rotWithShape="0">
              <a:prstClr val="black">
                <a:alpha val="40000"/>
              </a:prstClr>
            </a:outerShdw>
          </a:effectLst>
        </p:spPr>
        <p:txBody>
          <a:bodyPr wrap="square">
            <a:spAutoFit/>
          </a:bodyPr>
          <a:lstStyle/>
          <a:p>
            <a:pPr defTabSz="609585">
              <a:lnSpc>
                <a:spcPct val="110000"/>
              </a:lnSpc>
              <a:defRPr/>
            </a:pPr>
            <a:r>
              <a:rPr lang="es-ES" sz="2400" b="1" dirty="0">
                <a:solidFill>
                  <a:srgbClr val="006B87"/>
                </a:solidFill>
                <a:latin typeface="Arial"/>
                <a:cs typeface="Arial" panose="020B0604020202020204" pitchFamily="34" charset="0"/>
              </a:rPr>
              <a:t>108 millones de estadounidenses perdieron 38.000 millones de USD</a:t>
            </a:r>
            <a:r>
              <a:rPr lang="es-ES" sz="2000" b="1" dirty="0">
                <a:solidFill>
                  <a:srgbClr val="006B87"/>
                </a:solidFill>
                <a:latin typeface="Arial"/>
                <a:cs typeface="Arial" panose="020B0604020202020204" pitchFamily="34" charset="0"/>
              </a:rPr>
              <a:t>
como resultado de la ciberdelincuencia en los últimos 12 meses</a:t>
            </a:r>
            <a:r>
              <a:rPr lang="es-ES" sz="900" b="1" dirty="0">
                <a:solidFill>
                  <a:srgbClr val="006B87"/>
                </a:solidFill>
                <a:latin typeface="Arial"/>
                <a:cs typeface="Arial" panose="020B0604020202020204" pitchFamily="34" charset="0"/>
              </a:rPr>
              <a:t>4</a:t>
            </a:r>
            <a:r>
              <a:rPr lang="es-ES" sz="2400" b="1" dirty="0">
                <a:solidFill>
                  <a:srgbClr val="006B87"/>
                </a:solidFill>
                <a:latin typeface="Arial"/>
                <a:cs typeface="Arial" panose="020B0604020202020204" pitchFamily="34" charset="0"/>
              </a:rPr>
              <a:t>
</a:t>
            </a:r>
            <a:endParaRPr lang="en-US" sz="1600" baseline="30000" dirty="0">
              <a:solidFill>
                <a:srgbClr val="000000"/>
              </a:solidFill>
              <a:latin typeface="Arial"/>
            </a:endParaRPr>
          </a:p>
        </p:txBody>
      </p:sp>
      <p:sp>
        <p:nvSpPr>
          <p:cNvPr id="38" name="Rectangle 37"/>
          <p:cNvSpPr/>
          <p:nvPr/>
        </p:nvSpPr>
        <p:spPr>
          <a:xfrm>
            <a:off x="6595289" y="6253145"/>
            <a:ext cx="2013502" cy="276999"/>
          </a:xfrm>
          <a:prstGeom prst="rect">
            <a:avLst/>
          </a:prstGeom>
        </p:spPr>
        <p:txBody>
          <a:bodyPr wrap="square">
            <a:spAutoFit/>
          </a:bodyPr>
          <a:lstStyle/>
          <a:p>
            <a:endParaRPr lang="en-US" sz="1200" dirty="0">
              <a:solidFill>
                <a:schemeClr val="bg1"/>
              </a:solidFill>
              <a:latin typeface="Arial"/>
            </a:endParaRPr>
          </a:p>
        </p:txBody>
      </p:sp>
      <p:sp>
        <p:nvSpPr>
          <p:cNvPr id="39" name="Rectangle 38"/>
          <p:cNvSpPr/>
          <p:nvPr/>
        </p:nvSpPr>
        <p:spPr>
          <a:xfrm>
            <a:off x="1225836" y="6326222"/>
            <a:ext cx="8805831" cy="830997"/>
          </a:xfrm>
          <a:prstGeom prst="rect">
            <a:avLst/>
          </a:prstGeom>
        </p:spPr>
        <p:txBody>
          <a:bodyPr wrap="square" numCol="2">
            <a:spAutoFit/>
          </a:bodyPr>
          <a:lstStyle/>
          <a:p>
            <a:r>
              <a:rPr lang="en-US" sz="1000" baseline="30000" dirty="0">
                <a:solidFill>
                  <a:schemeClr val="bg1"/>
                </a:solidFill>
                <a:latin typeface="Arial"/>
              </a:rPr>
              <a:t>1</a:t>
            </a:r>
            <a:r>
              <a:rPr lang="en-US" sz="1000" i="1" dirty="0">
                <a:solidFill>
                  <a:schemeClr val="bg1"/>
                </a:solidFill>
                <a:latin typeface="Arial"/>
              </a:rPr>
              <a:t>2022 Cybersecurity Almanac</a:t>
            </a:r>
            <a:r>
              <a:rPr lang="en-US" sz="1000" dirty="0">
                <a:solidFill>
                  <a:schemeClr val="bg1"/>
                </a:solidFill>
                <a:latin typeface="Arial"/>
              </a:rPr>
              <a:t>, Cybercrime Magazine 2022</a:t>
            </a:r>
          </a:p>
          <a:p>
            <a:r>
              <a:rPr lang="en-US" sz="1000" baseline="30000" dirty="0">
                <a:solidFill>
                  <a:schemeClr val="bg1"/>
                </a:solidFill>
                <a:latin typeface="Arial"/>
              </a:rPr>
              <a:t>2</a:t>
            </a:r>
            <a:r>
              <a:rPr lang="en-US" sz="1000" i="1" dirty="0">
                <a:solidFill>
                  <a:schemeClr val="bg1"/>
                </a:solidFill>
                <a:latin typeface="Arial"/>
              </a:rPr>
              <a:t>667% spike in email phishing attacks due to coronavirus fears</a:t>
            </a:r>
            <a:r>
              <a:rPr lang="en-US" sz="1000" dirty="0">
                <a:solidFill>
                  <a:schemeClr val="bg1"/>
                </a:solidFill>
                <a:latin typeface="Arial"/>
              </a:rPr>
              <a:t>, TechRepublic 2020</a:t>
            </a:r>
          </a:p>
          <a:p>
            <a:r>
              <a:rPr lang="en-US" sz="1000" baseline="30000" dirty="0">
                <a:solidFill>
                  <a:schemeClr val="bg1"/>
                </a:solidFill>
                <a:latin typeface="Arial"/>
              </a:rPr>
              <a:t>3</a:t>
            </a:r>
            <a:r>
              <a:rPr lang="en-US" sz="1000" i="1" dirty="0">
                <a:solidFill>
                  <a:schemeClr val="bg1"/>
                </a:solidFill>
                <a:latin typeface="Arial"/>
              </a:rPr>
              <a:t>More Alarming Cybersecurity Stats for 2021!</a:t>
            </a:r>
            <a:r>
              <a:rPr lang="en-US" sz="1000" dirty="0">
                <a:solidFill>
                  <a:schemeClr val="bg1"/>
                </a:solidFill>
                <a:latin typeface="Arial"/>
              </a:rPr>
              <a:t>, Forbes 2021</a:t>
            </a:r>
          </a:p>
          <a:p>
            <a:r>
              <a:rPr lang="es-ES" sz="1200" baseline="30000" dirty="0">
                <a:solidFill>
                  <a:schemeClr val="bg1"/>
                </a:solidFill>
                <a:latin typeface="Arial"/>
              </a:rPr>
              <a:t>Informe 4Cyber Safety </a:t>
            </a:r>
            <a:r>
              <a:rPr lang="es-ES" sz="1200" baseline="30000" dirty="0" err="1">
                <a:solidFill>
                  <a:schemeClr val="bg1"/>
                </a:solidFill>
                <a:latin typeface="Arial"/>
              </a:rPr>
              <a:t>Insights</a:t>
            </a:r>
            <a:r>
              <a:rPr lang="es-ES" sz="1200" baseline="30000" dirty="0">
                <a:solidFill>
                  <a:schemeClr val="bg1"/>
                </a:solidFill>
                <a:latin typeface="Arial"/>
              </a:rPr>
              <a:t>, Norton 2021
5Encuesta global de actitud de seguridad, </a:t>
            </a:r>
            <a:r>
              <a:rPr lang="es-ES" sz="1200" baseline="30000" dirty="0" err="1">
                <a:solidFill>
                  <a:schemeClr val="bg1"/>
                </a:solidFill>
                <a:latin typeface="Arial"/>
              </a:rPr>
              <a:t>CrowdStrike</a:t>
            </a:r>
            <a:r>
              <a:rPr lang="es-ES" sz="1200" baseline="30000" dirty="0">
                <a:solidFill>
                  <a:schemeClr val="bg1"/>
                </a:solidFill>
                <a:latin typeface="Arial"/>
              </a:rPr>
              <a:t> 2021
El 686% de los consumidores globales son víctimas de robo de identidad y fraude a medida que aumentan las compras en línea, </a:t>
            </a:r>
            <a:r>
              <a:rPr lang="es-ES" sz="1200" baseline="30000" dirty="0" err="1">
                <a:solidFill>
                  <a:schemeClr val="bg1"/>
                </a:solidFill>
                <a:latin typeface="Arial"/>
              </a:rPr>
              <a:t>OpSec</a:t>
            </a:r>
            <a:r>
              <a:rPr lang="es-ES" sz="1200" baseline="30000" dirty="0">
                <a:solidFill>
                  <a:schemeClr val="bg1"/>
                </a:solidFill>
                <a:latin typeface="Arial"/>
              </a:rPr>
              <a:t> Security 2020
</a:t>
            </a:r>
            <a:endParaRPr lang="en-US" sz="1200" dirty="0">
              <a:solidFill>
                <a:schemeClr val="bg1"/>
              </a:solidFill>
              <a:latin typeface="Arial"/>
            </a:endParaRPr>
          </a:p>
        </p:txBody>
      </p:sp>
      <p:sp>
        <p:nvSpPr>
          <p:cNvPr id="40" name="Rectangle 38">
            <a:extLst>
              <a:ext uri="{FF2B5EF4-FFF2-40B4-BE49-F238E27FC236}">
                <a16:creationId xmlns:a16="http://schemas.microsoft.com/office/drawing/2014/main" id="{203171F1-670C-FA49-979C-F6826651761B}"/>
              </a:ext>
            </a:extLst>
          </p:cNvPr>
          <p:cNvSpPr>
            <a:spLocks noChangeArrowheads="1"/>
          </p:cNvSpPr>
          <p:nvPr/>
        </p:nvSpPr>
        <p:spPr bwMode="gray">
          <a:xfrm>
            <a:off x="600938" y="6584080"/>
            <a:ext cx="6632574" cy="117560"/>
          </a:xfrm>
          <a:prstGeom prst="rect">
            <a:avLst/>
          </a:prstGeom>
          <a:noFill/>
          <a:ln w="9525">
            <a:noFill/>
            <a:miter lim="800000"/>
            <a:headEnd/>
            <a:tailEnd/>
          </a:ln>
        </p:spPr>
        <p:txBody>
          <a:bodyPr lIns="0" tIns="0" rIns="0" bIns="0" anchor="b"/>
          <a:lstStyle/>
          <a:p>
            <a:pPr algn="l" eaLnBrk="0" hangingPunct="0"/>
            <a:r>
              <a:rPr lang="en-US" sz="1100" dirty="0">
                <a:solidFill>
                  <a:schemeClr val="bg1"/>
                </a:solidFill>
                <a:latin typeface="Arial" panose="020B0604020202020204" pitchFamily="34" charset="0"/>
                <a:cs typeface="Arial" panose="020B0604020202020204" pitchFamily="34" charset="0"/>
              </a:rPr>
              <a:t>© 2022 TransUnion LLC All Rights</a:t>
            </a:r>
            <a:r>
              <a:rPr lang="en-US" sz="1100" baseline="0" dirty="0">
                <a:solidFill>
                  <a:schemeClr val="bg1"/>
                </a:solidFill>
                <a:latin typeface="Arial" panose="020B0604020202020204" pitchFamily="34" charset="0"/>
                <a:cs typeface="Arial" panose="020B0604020202020204" pitchFamily="34" charset="0"/>
              </a:rPr>
              <a:t> Reserved</a:t>
            </a:r>
            <a:r>
              <a:rPr lang="en-US" sz="1100" dirty="0">
                <a:solidFill>
                  <a:schemeClr val="bg1"/>
                </a:solidFill>
                <a:latin typeface="Arial" panose="020B0604020202020204" pitchFamily="34" charset="0"/>
                <a:cs typeface="Arial" panose="020B0604020202020204" pitchFamily="34" charset="0"/>
              </a:rPr>
              <a:t>   |   </a:t>
            </a:r>
            <a:fld id="{DDCA33D1-252A-4658-B1F4-82058961A0C0}" type="slidenum">
              <a:rPr lang="en-US" sz="1100" kern="1200" smtClean="0">
                <a:solidFill>
                  <a:schemeClr val="bg1"/>
                </a:solidFill>
                <a:latin typeface="Arial" panose="020B0604020202020204" pitchFamily="34" charset="0"/>
                <a:cs typeface="Arial" panose="020B0604020202020204" pitchFamily="34" charset="0"/>
              </a:rPr>
              <a:pPr algn="l" eaLnBrk="0" hangingPunct="0"/>
              <a:t>4</a:t>
            </a:fld>
            <a:endParaRPr lang="en-US" sz="1100" dirty="0">
              <a:solidFill>
                <a:schemeClr val="bg1"/>
              </a:solidFill>
              <a:latin typeface="Arial" panose="020B0604020202020204" pitchFamily="34" charset="0"/>
              <a:cs typeface="Arial" panose="020B0604020202020204" pitchFamily="34" charset="0"/>
            </a:endParaRPr>
          </a:p>
        </p:txBody>
      </p:sp>
      <p:sp>
        <p:nvSpPr>
          <p:cNvPr id="22" name="Rectangle 21"/>
          <p:cNvSpPr/>
          <p:nvPr/>
        </p:nvSpPr>
        <p:spPr>
          <a:xfrm>
            <a:off x="6180669" y="4079655"/>
            <a:ext cx="1788216" cy="837152"/>
          </a:xfrm>
          <a:prstGeom prst="rect">
            <a:avLst/>
          </a:prstGeom>
        </p:spPr>
        <p:txBody>
          <a:bodyPr wrap="square">
            <a:spAutoFit/>
          </a:bodyPr>
          <a:lstStyle/>
          <a:p>
            <a:pPr algn="ctr">
              <a:lnSpc>
                <a:spcPct val="110000"/>
              </a:lnSpc>
            </a:pPr>
            <a:r>
              <a:rPr lang="en-US" sz="4400" b="1" dirty="0">
                <a:solidFill>
                  <a:schemeClr val="bg1"/>
                </a:solidFill>
                <a:latin typeface="Arial"/>
              </a:rPr>
              <a:t>86%</a:t>
            </a:r>
          </a:p>
        </p:txBody>
      </p:sp>
      <p:sp>
        <p:nvSpPr>
          <p:cNvPr id="24" name="Rectangle 23"/>
          <p:cNvSpPr/>
          <p:nvPr/>
        </p:nvSpPr>
        <p:spPr>
          <a:xfrm>
            <a:off x="6093042" y="1568030"/>
            <a:ext cx="1788216" cy="779381"/>
          </a:xfrm>
          <a:prstGeom prst="rect">
            <a:avLst/>
          </a:prstGeom>
        </p:spPr>
        <p:txBody>
          <a:bodyPr wrap="square">
            <a:spAutoFit/>
          </a:bodyPr>
          <a:lstStyle/>
          <a:p>
            <a:pPr algn="ctr">
              <a:lnSpc>
                <a:spcPct val="110000"/>
              </a:lnSpc>
            </a:pPr>
            <a:r>
              <a:rPr lang="en-US" sz="4400" b="1" dirty="0">
                <a:solidFill>
                  <a:schemeClr val="bg1"/>
                </a:solidFill>
                <a:latin typeface="Arial"/>
              </a:rPr>
              <a:t>69%</a:t>
            </a:r>
          </a:p>
        </p:txBody>
      </p:sp>
      <p:grpSp>
        <p:nvGrpSpPr>
          <p:cNvPr id="25" name="Group 24"/>
          <p:cNvGrpSpPr>
            <a:grpSpLocks noChangeAspect="1"/>
          </p:cNvGrpSpPr>
          <p:nvPr/>
        </p:nvGrpSpPr>
        <p:grpSpPr bwMode="auto">
          <a:xfrm>
            <a:off x="9926902" y="6100011"/>
            <a:ext cx="1658258" cy="433137"/>
            <a:chOff x="44" y="1156"/>
            <a:chExt cx="5628" cy="1470"/>
          </a:xfrm>
          <a:solidFill>
            <a:schemeClr val="bg1"/>
          </a:solidFill>
        </p:grpSpPr>
        <p:sp>
          <p:nvSpPr>
            <p:cNvPr id="26" name="Freeform 25"/>
            <p:cNvSpPr>
              <a:spLocks/>
            </p:cNvSpPr>
            <p:nvPr/>
          </p:nvSpPr>
          <p:spPr bwMode="auto">
            <a:xfrm>
              <a:off x="502" y="2133"/>
              <a:ext cx="398" cy="481"/>
            </a:xfrm>
            <a:custGeom>
              <a:avLst/>
              <a:gdLst>
                <a:gd name="T0" fmla="*/ 53 w 398"/>
                <a:gd name="T1" fmla="*/ 0 h 481"/>
                <a:gd name="T2" fmla="*/ 77 w 398"/>
                <a:gd name="T3" fmla="*/ 2 h 481"/>
                <a:gd name="T4" fmla="*/ 99 w 398"/>
                <a:gd name="T5" fmla="*/ 7 h 481"/>
                <a:gd name="T6" fmla="*/ 119 w 398"/>
                <a:gd name="T7" fmla="*/ 17 h 481"/>
                <a:gd name="T8" fmla="*/ 135 w 398"/>
                <a:gd name="T9" fmla="*/ 33 h 481"/>
                <a:gd name="T10" fmla="*/ 145 w 398"/>
                <a:gd name="T11" fmla="*/ 51 h 481"/>
                <a:gd name="T12" fmla="*/ 150 w 398"/>
                <a:gd name="T13" fmla="*/ 77 h 481"/>
                <a:gd name="T14" fmla="*/ 159 w 398"/>
                <a:gd name="T15" fmla="*/ 60 h 481"/>
                <a:gd name="T16" fmla="*/ 172 w 398"/>
                <a:gd name="T17" fmla="*/ 43 h 481"/>
                <a:gd name="T18" fmla="*/ 188 w 398"/>
                <a:gd name="T19" fmla="*/ 29 h 481"/>
                <a:gd name="T20" fmla="*/ 205 w 398"/>
                <a:gd name="T21" fmla="*/ 19 h 481"/>
                <a:gd name="T22" fmla="*/ 225 w 398"/>
                <a:gd name="T23" fmla="*/ 10 h 481"/>
                <a:gd name="T24" fmla="*/ 246 w 398"/>
                <a:gd name="T25" fmla="*/ 3 h 481"/>
                <a:gd name="T26" fmla="*/ 290 w 398"/>
                <a:gd name="T27" fmla="*/ 0 h 481"/>
                <a:gd name="T28" fmla="*/ 319 w 398"/>
                <a:gd name="T29" fmla="*/ 0 h 481"/>
                <a:gd name="T30" fmla="*/ 348 w 398"/>
                <a:gd name="T31" fmla="*/ 7 h 481"/>
                <a:gd name="T32" fmla="*/ 374 w 398"/>
                <a:gd name="T33" fmla="*/ 17 h 481"/>
                <a:gd name="T34" fmla="*/ 398 w 398"/>
                <a:gd name="T35" fmla="*/ 33 h 481"/>
                <a:gd name="T36" fmla="*/ 354 w 398"/>
                <a:gd name="T37" fmla="*/ 115 h 481"/>
                <a:gd name="T38" fmla="*/ 355 w 398"/>
                <a:gd name="T39" fmla="*/ 115 h 481"/>
                <a:gd name="T40" fmla="*/ 318 w 398"/>
                <a:gd name="T41" fmla="*/ 101 h 481"/>
                <a:gd name="T42" fmla="*/ 278 w 398"/>
                <a:gd name="T43" fmla="*/ 96 h 481"/>
                <a:gd name="T44" fmla="*/ 254 w 398"/>
                <a:gd name="T45" fmla="*/ 98 h 481"/>
                <a:gd name="T46" fmla="*/ 232 w 398"/>
                <a:gd name="T47" fmla="*/ 103 h 481"/>
                <a:gd name="T48" fmla="*/ 212 w 398"/>
                <a:gd name="T49" fmla="*/ 111 h 481"/>
                <a:gd name="T50" fmla="*/ 195 w 398"/>
                <a:gd name="T51" fmla="*/ 123 h 481"/>
                <a:gd name="T52" fmla="*/ 179 w 398"/>
                <a:gd name="T53" fmla="*/ 140 h 481"/>
                <a:gd name="T54" fmla="*/ 167 w 398"/>
                <a:gd name="T55" fmla="*/ 159 h 481"/>
                <a:gd name="T56" fmla="*/ 160 w 398"/>
                <a:gd name="T57" fmla="*/ 181 h 481"/>
                <a:gd name="T58" fmla="*/ 157 w 398"/>
                <a:gd name="T59" fmla="*/ 209 h 481"/>
                <a:gd name="T60" fmla="*/ 157 w 398"/>
                <a:gd name="T61" fmla="*/ 481 h 481"/>
                <a:gd name="T62" fmla="*/ 51 w 398"/>
                <a:gd name="T63" fmla="*/ 481 h 481"/>
                <a:gd name="T64" fmla="*/ 51 w 398"/>
                <a:gd name="T65" fmla="*/ 139 h 481"/>
                <a:gd name="T66" fmla="*/ 51 w 398"/>
                <a:gd name="T67" fmla="*/ 111 h 481"/>
                <a:gd name="T68" fmla="*/ 49 w 398"/>
                <a:gd name="T69" fmla="*/ 104 h 481"/>
                <a:gd name="T70" fmla="*/ 48 w 398"/>
                <a:gd name="T71" fmla="*/ 98 h 481"/>
                <a:gd name="T72" fmla="*/ 46 w 398"/>
                <a:gd name="T73" fmla="*/ 91 h 481"/>
                <a:gd name="T74" fmla="*/ 41 w 398"/>
                <a:gd name="T75" fmla="*/ 87 h 481"/>
                <a:gd name="T76" fmla="*/ 37 w 398"/>
                <a:gd name="T77" fmla="*/ 82 h 481"/>
                <a:gd name="T78" fmla="*/ 31 w 398"/>
                <a:gd name="T79" fmla="*/ 80 h 481"/>
                <a:gd name="T80" fmla="*/ 17 w 398"/>
                <a:gd name="T81" fmla="*/ 79 h 481"/>
                <a:gd name="T82" fmla="*/ 2 w 398"/>
                <a:gd name="T83" fmla="*/ 77 h 481"/>
                <a:gd name="T84" fmla="*/ 0 w 398"/>
                <a:gd name="T85" fmla="*/ 5 h 481"/>
                <a:gd name="T86" fmla="*/ 53 w 398"/>
                <a:gd name="T8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8" h="481">
                  <a:moveTo>
                    <a:pt x="53" y="0"/>
                  </a:moveTo>
                  <a:lnTo>
                    <a:pt x="77" y="2"/>
                  </a:lnTo>
                  <a:lnTo>
                    <a:pt x="99" y="7"/>
                  </a:lnTo>
                  <a:lnTo>
                    <a:pt x="119" y="17"/>
                  </a:lnTo>
                  <a:lnTo>
                    <a:pt x="135" y="33"/>
                  </a:lnTo>
                  <a:lnTo>
                    <a:pt x="145" y="51"/>
                  </a:lnTo>
                  <a:lnTo>
                    <a:pt x="150" y="77"/>
                  </a:lnTo>
                  <a:lnTo>
                    <a:pt x="159" y="60"/>
                  </a:lnTo>
                  <a:lnTo>
                    <a:pt x="172" y="43"/>
                  </a:lnTo>
                  <a:lnTo>
                    <a:pt x="188" y="29"/>
                  </a:lnTo>
                  <a:lnTo>
                    <a:pt x="205" y="19"/>
                  </a:lnTo>
                  <a:lnTo>
                    <a:pt x="225" y="10"/>
                  </a:lnTo>
                  <a:lnTo>
                    <a:pt x="246" y="3"/>
                  </a:lnTo>
                  <a:lnTo>
                    <a:pt x="290" y="0"/>
                  </a:lnTo>
                  <a:lnTo>
                    <a:pt x="319" y="0"/>
                  </a:lnTo>
                  <a:lnTo>
                    <a:pt x="348" y="7"/>
                  </a:lnTo>
                  <a:lnTo>
                    <a:pt x="374" y="17"/>
                  </a:lnTo>
                  <a:lnTo>
                    <a:pt x="398" y="33"/>
                  </a:lnTo>
                  <a:lnTo>
                    <a:pt x="354" y="115"/>
                  </a:lnTo>
                  <a:lnTo>
                    <a:pt x="355" y="115"/>
                  </a:lnTo>
                  <a:lnTo>
                    <a:pt x="318" y="101"/>
                  </a:lnTo>
                  <a:lnTo>
                    <a:pt x="278" y="96"/>
                  </a:lnTo>
                  <a:lnTo>
                    <a:pt x="254" y="98"/>
                  </a:lnTo>
                  <a:lnTo>
                    <a:pt x="232" y="103"/>
                  </a:lnTo>
                  <a:lnTo>
                    <a:pt x="212" y="111"/>
                  </a:lnTo>
                  <a:lnTo>
                    <a:pt x="195" y="123"/>
                  </a:lnTo>
                  <a:lnTo>
                    <a:pt x="179" y="140"/>
                  </a:lnTo>
                  <a:lnTo>
                    <a:pt x="167" y="159"/>
                  </a:lnTo>
                  <a:lnTo>
                    <a:pt x="160" y="181"/>
                  </a:lnTo>
                  <a:lnTo>
                    <a:pt x="157" y="209"/>
                  </a:lnTo>
                  <a:lnTo>
                    <a:pt x="157" y="481"/>
                  </a:lnTo>
                  <a:lnTo>
                    <a:pt x="51" y="481"/>
                  </a:lnTo>
                  <a:lnTo>
                    <a:pt x="51" y="139"/>
                  </a:lnTo>
                  <a:lnTo>
                    <a:pt x="51" y="111"/>
                  </a:lnTo>
                  <a:lnTo>
                    <a:pt x="49" y="104"/>
                  </a:lnTo>
                  <a:lnTo>
                    <a:pt x="48" y="98"/>
                  </a:lnTo>
                  <a:lnTo>
                    <a:pt x="46" y="91"/>
                  </a:lnTo>
                  <a:lnTo>
                    <a:pt x="41" y="87"/>
                  </a:lnTo>
                  <a:lnTo>
                    <a:pt x="37" y="82"/>
                  </a:lnTo>
                  <a:lnTo>
                    <a:pt x="31" y="80"/>
                  </a:lnTo>
                  <a:lnTo>
                    <a:pt x="17" y="79"/>
                  </a:lnTo>
                  <a:lnTo>
                    <a:pt x="2" y="77"/>
                  </a:lnTo>
                  <a:lnTo>
                    <a:pt x="0" y="5"/>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7" name="Freeform 26"/>
            <p:cNvSpPr>
              <a:spLocks noEditPoints="1"/>
            </p:cNvSpPr>
            <p:nvPr/>
          </p:nvSpPr>
          <p:spPr bwMode="auto">
            <a:xfrm>
              <a:off x="885" y="2133"/>
              <a:ext cx="514" cy="490"/>
            </a:xfrm>
            <a:custGeom>
              <a:avLst/>
              <a:gdLst>
                <a:gd name="T0" fmla="*/ 229 w 514"/>
                <a:gd name="T1" fmla="*/ 87 h 490"/>
                <a:gd name="T2" fmla="*/ 174 w 514"/>
                <a:gd name="T3" fmla="*/ 111 h 490"/>
                <a:gd name="T4" fmla="*/ 135 w 514"/>
                <a:gd name="T5" fmla="*/ 154 h 490"/>
                <a:gd name="T6" fmla="*/ 111 w 514"/>
                <a:gd name="T7" fmla="*/ 216 h 490"/>
                <a:gd name="T8" fmla="*/ 111 w 514"/>
                <a:gd name="T9" fmla="*/ 293 h 490"/>
                <a:gd name="T10" fmla="*/ 140 w 514"/>
                <a:gd name="T11" fmla="*/ 356 h 490"/>
                <a:gd name="T12" fmla="*/ 179 w 514"/>
                <a:gd name="T13" fmla="*/ 385 h 490"/>
                <a:gd name="T14" fmla="*/ 237 w 514"/>
                <a:gd name="T15" fmla="*/ 395 h 490"/>
                <a:gd name="T16" fmla="*/ 288 w 514"/>
                <a:gd name="T17" fmla="*/ 383 h 490"/>
                <a:gd name="T18" fmla="*/ 328 w 514"/>
                <a:gd name="T19" fmla="*/ 353 h 490"/>
                <a:gd name="T20" fmla="*/ 355 w 514"/>
                <a:gd name="T21" fmla="*/ 286 h 490"/>
                <a:gd name="T22" fmla="*/ 360 w 514"/>
                <a:gd name="T23" fmla="*/ 104 h 490"/>
                <a:gd name="T24" fmla="*/ 309 w 514"/>
                <a:gd name="T25" fmla="*/ 89 h 490"/>
                <a:gd name="T26" fmla="*/ 261 w 514"/>
                <a:gd name="T27" fmla="*/ 84 h 490"/>
                <a:gd name="T28" fmla="*/ 319 w 514"/>
                <a:gd name="T29" fmla="*/ 2 h 490"/>
                <a:gd name="T30" fmla="*/ 416 w 514"/>
                <a:gd name="T31" fmla="*/ 24 h 490"/>
                <a:gd name="T32" fmla="*/ 463 w 514"/>
                <a:gd name="T33" fmla="*/ 342 h 490"/>
                <a:gd name="T34" fmla="*/ 464 w 514"/>
                <a:gd name="T35" fmla="*/ 380 h 490"/>
                <a:gd name="T36" fmla="*/ 469 w 514"/>
                <a:gd name="T37" fmla="*/ 394 h 490"/>
                <a:gd name="T38" fmla="*/ 478 w 514"/>
                <a:gd name="T39" fmla="*/ 402 h 490"/>
                <a:gd name="T40" fmla="*/ 497 w 514"/>
                <a:gd name="T41" fmla="*/ 407 h 490"/>
                <a:gd name="T42" fmla="*/ 514 w 514"/>
                <a:gd name="T43" fmla="*/ 483 h 490"/>
                <a:gd name="T44" fmla="*/ 440 w 514"/>
                <a:gd name="T45" fmla="*/ 484 h 490"/>
                <a:gd name="T46" fmla="*/ 403 w 514"/>
                <a:gd name="T47" fmla="*/ 464 h 490"/>
                <a:gd name="T48" fmla="*/ 382 w 514"/>
                <a:gd name="T49" fmla="*/ 430 h 490"/>
                <a:gd name="T50" fmla="*/ 377 w 514"/>
                <a:gd name="T51" fmla="*/ 387 h 490"/>
                <a:gd name="T52" fmla="*/ 340 w 514"/>
                <a:gd name="T53" fmla="*/ 443 h 490"/>
                <a:gd name="T54" fmla="*/ 280 w 514"/>
                <a:gd name="T55" fmla="*/ 478 h 490"/>
                <a:gd name="T56" fmla="*/ 215 w 514"/>
                <a:gd name="T57" fmla="*/ 490 h 490"/>
                <a:gd name="T58" fmla="*/ 148 w 514"/>
                <a:gd name="T59" fmla="*/ 483 h 490"/>
                <a:gd name="T60" fmla="*/ 95 w 514"/>
                <a:gd name="T61" fmla="*/ 459 h 490"/>
                <a:gd name="T62" fmla="*/ 53 w 514"/>
                <a:gd name="T63" fmla="*/ 421 h 490"/>
                <a:gd name="T64" fmla="*/ 13 w 514"/>
                <a:gd name="T65" fmla="*/ 346 h 490"/>
                <a:gd name="T66" fmla="*/ 0 w 514"/>
                <a:gd name="T67" fmla="*/ 253 h 490"/>
                <a:gd name="T68" fmla="*/ 10 w 514"/>
                <a:gd name="T69" fmla="*/ 180 h 490"/>
                <a:gd name="T70" fmla="*/ 37 w 514"/>
                <a:gd name="T71" fmla="*/ 116 h 490"/>
                <a:gd name="T72" fmla="*/ 78 w 514"/>
                <a:gd name="T73" fmla="*/ 67 h 490"/>
                <a:gd name="T74" fmla="*/ 131 w 514"/>
                <a:gd name="T75" fmla="*/ 29 h 490"/>
                <a:gd name="T76" fmla="*/ 196 w 514"/>
                <a:gd name="T77" fmla="*/ 5 h 490"/>
                <a:gd name="T78" fmla="*/ 270 w 514"/>
                <a:gd name="T7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4" h="490">
                  <a:moveTo>
                    <a:pt x="261" y="84"/>
                  </a:moveTo>
                  <a:lnTo>
                    <a:pt x="229" y="87"/>
                  </a:lnTo>
                  <a:lnTo>
                    <a:pt x="199" y="96"/>
                  </a:lnTo>
                  <a:lnTo>
                    <a:pt x="174" y="111"/>
                  </a:lnTo>
                  <a:lnTo>
                    <a:pt x="152" y="130"/>
                  </a:lnTo>
                  <a:lnTo>
                    <a:pt x="135" y="154"/>
                  </a:lnTo>
                  <a:lnTo>
                    <a:pt x="119" y="183"/>
                  </a:lnTo>
                  <a:lnTo>
                    <a:pt x="111" y="216"/>
                  </a:lnTo>
                  <a:lnTo>
                    <a:pt x="107" y="253"/>
                  </a:lnTo>
                  <a:lnTo>
                    <a:pt x="111" y="293"/>
                  </a:lnTo>
                  <a:lnTo>
                    <a:pt x="121" y="327"/>
                  </a:lnTo>
                  <a:lnTo>
                    <a:pt x="140" y="356"/>
                  </a:lnTo>
                  <a:lnTo>
                    <a:pt x="157" y="373"/>
                  </a:lnTo>
                  <a:lnTo>
                    <a:pt x="179" y="385"/>
                  </a:lnTo>
                  <a:lnTo>
                    <a:pt x="206" y="392"/>
                  </a:lnTo>
                  <a:lnTo>
                    <a:pt x="237" y="395"/>
                  </a:lnTo>
                  <a:lnTo>
                    <a:pt x="264" y="392"/>
                  </a:lnTo>
                  <a:lnTo>
                    <a:pt x="288" y="383"/>
                  </a:lnTo>
                  <a:lnTo>
                    <a:pt x="311" y="371"/>
                  </a:lnTo>
                  <a:lnTo>
                    <a:pt x="328" y="353"/>
                  </a:lnTo>
                  <a:lnTo>
                    <a:pt x="345" y="322"/>
                  </a:lnTo>
                  <a:lnTo>
                    <a:pt x="355" y="286"/>
                  </a:lnTo>
                  <a:lnTo>
                    <a:pt x="360" y="243"/>
                  </a:lnTo>
                  <a:lnTo>
                    <a:pt x="360" y="104"/>
                  </a:lnTo>
                  <a:lnTo>
                    <a:pt x="334" y="96"/>
                  </a:lnTo>
                  <a:lnTo>
                    <a:pt x="309" y="89"/>
                  </a:lnTo>
                  <a:lnTo>
                    <a:pt x="285" y="86"/>
                  </a:lnTo>
                  <a:lnTo>
                    <a:pt x="261" y="84"/>
                  </a:lnTo>
                  <a:close/>
                  <a:moveTo>
                    <a:pt x="270" y="0"/>
                  </a:moveTo>
                  <a:lnTo>
                    <a:pt x="319" y="2"/>
                  </a:lnTo>
                  <a:lnTo>
                    <a:pt x="369" y="10"/>
                  </a:lnTo>
                  <a:lnTo>
                    <a:pt x="416" y="24"/>
                  </a:lnTo>
                  <a:lnTo>
                    <a:pt x="463" y="43"/>
                  </a:lnTo>
                  <a:lnTo>
                    <a:pt x="463" y="342"/>
                  </a:lnTo>
                  <a:lnTo>
                    <a:pt x="464" y="371"/>
                  </a:lnTo>
                  <a:lnTo>
                    <a:pt x="464" y="380"/>
                  </a:lnTo>
                  <a:lnTo>
                    <a:pt x="466" y="387"/>
                  </a:lnTo>
                  <a:lnTo>
                    <a:pt x="469" y="394"/>
                  </a:lnTo>
                  <a:lnTo>
                    <a:pt x="473" y="399"/>
                  </a:lnTo>
                  <a:lnTo>
                    <a:pt x="478" y="402"/>
                  </a:lnTo>
                  <a:lnTo>
                    <a:pt x="485" y="406"/>
                  </a:lnTo>
                  <a:lnTo>
                    <a:pt x="497" y="407"/>
                  </a:lnTo>
                  <a:lnTo>
                    <a:pt x="514" y="407"/>
                  </a:lnTo>
                  <a:lnTo>
                    <a:pt x="514" y="483"/>
                  </a:lnTo>
                  <a:lnTo>
                    <a:pt x="464" y="488"/>
                  </a:lnTo>
                  <a:lnTo>
                    <a:pt x="440" y="484"/>
                  </a:lnTo>
                  <a:lnTo>
                    <a:pt x="420" y="478"/>
                  </a:lnTo>
                  <a:lnTo>
                    <a:pt x="403" y="464"/>
                  </a:lnTo>
                  <a:lnTo>
                    <a:pt x="389" y="445"/>
                  </a:lnTo>
                  <a:lnTo>
                    <a:pt x="382" y="430"/>
                  </a:lnTo>
                  <a:lnTo>
                    <a:pt x="379" y="411"/>
                  </a:lnTo>
                  <a:lnTo>
                    <a:pt x="377" y="387"/>
                  </a:lnTo>
                  <a:lnTo>
                    <a:pt x="360" y="418"/>
                  </a:lnTo>
                  <a:lnTo>
                    <a:pt x="340" y="443"/>
                  </a:lnTo>
                  <a:lnTo>
                    <a:pt x="312" y="464"/>
                  </a:lnTo>
                  <a:lnTo>
                    <a:pt x="280" y="478"/>
                  </a:lnTo>
                  <a:lnTo>
                    <a:pt x="247" y="488"/>
                  </a:lnTo>
                  <a:lnTo>
                    <a:pt x="215" y="490"/>
                  </a:lnTo>
                  <a:lnTo>
                    <a:pt x="179" y="488"/>
                  </a:lnTo>
                  <a:lnTo>
                    <a:pt x="148" y="483"/>
                  </a:lnTo>
                  <a:lnTo>
                    <a:pt x="119" y="472"/>
                  </a:lnTo>
                  <a:lnTo>
                    <a:pt x="95" y="459"/>
                  </a:lnTo>
                  <a:lnTo>
                    <a:pt x="73" y="442"/>
                  </a:lnTo>
                  <a:lnTo>
                    <a:pt x="53" y="421"/>
                  </a:lnTo>
                  <a:lnTo>
                    <a:pt x="30" y="387"/>
                  </a:lnTo>
                  <a:lnTo>
                    <a:pt x="13" y="346"/>
                  </a:lnTo>
                  <a:lnTo>
                    <a:pt x="3" y="301"/>
                  </a:lnTo>
                  <a:lnTo>
                    <a:pt x="0" y="253"/>
                  </a:lnTo>
                  <a:lnTo>
                    <a:pt x="3" y="214"/>
                  </a:lnTo>
                  <a:lnTo>
                    <a:pt x="10" y="180"/>
                  </a:lnTo>
                  <a:lnTo>
                    <a:pt x="22" y="147"/>
                  </a:lnTo>
                  <a:lnTo>
                    <a:pt x="37" y="116"/>
                  </a:lnTo>
                  <a:lnTo>
                    <a:pt x="56" y="89"/>
                  </a:lnTo>
                  <a:lnTo>
                    <a:pt x="78" y="67"/>
                  </a:lnTo>
                  <a:lnTo>
                    <a:pt x="104" y="46"/>
                  </a:lnTo>
                  <a:lnTo>
                    <a:pt x="131" y="29"/>
                  </a:lnTo>
                  <a:lnTo>
                    <a:pt x="162" y="15"/>
                  </a:lnTo>
                  <a:lnTo>
                    <a:pt x="196" y="5"/>
                  </a:lnTo>
                  <a:lnTo>
                    <a:pt x="232" y="0"/>
                  </a:lnTo>
                  <a:lnTo>
                    <a:pt x="2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8" name="Freeform 27"/>
            <p:cNvSpPr>
              <a:spLocks/>
            </p:cNvSpPr>
            <p:nvPr/>
          </p:nvSpPr>
          <p:spPr bwMode="auto">
            <a:xfrm>
              <a:off x="1428" y="2133"/>
              <a:ext cx="497" cy="481"/>
            </a:xfrm>
            <a:custGeom>
              <a:avLst/>
              <a:gdLst>
                <a:gd name="T0" fmla="*/ 309 w 497"/>
                <a:gd name="T1" fmla="*/ 0 h 481"/>
                <a:gd name="T2" fmla="*/ 340 w 497"/>
                <a:gd name="T3" fmla="*/ 2 h 481"/>
                <a:gd name="T4" fmla="*/ 367 w 497"/>
                <a:gd name="T5" fmla="*/ 7 h 481"/>
                <a:gd name="T6" fmla="*/ 393 w 497"/>
                <a:gd name="T7" fmla="*/ 15 h 481"/>
                <a:gd name="T8" fmla="*/ 425 w 497"/>
                <a:gd name="T9" fmla="*/ 34 h 481"/>
                <a:gd name="T10" fmla="*/ 451 w 497"/>
                <a:gd name="T11" fmla="*/ 58 h 481"/>
                <a:gd name="T12" fmla="*/ 471 w 497"/>
                <a:gd name="T13" fmla="*/ 87 h 481"/>
                <a:gd name="T14" fmla="*/ 485 w 497"/>
                <a:gd name="T15" fmla="*/ 122 h 481"/>
                <a:gd name="T16" fmla="*/ 494 w 497"/>
                <a:gd name="T17" fmla="*/ 161 h 481"/>
                <a:gd name="T18" fmla="*/ 497 w 497"/>
                <a:gd name="T19" fmla="*/ 204 h 481"/>
                <a:gd name="T20" fmla="*/ 497 w 497"/>
                <a:gd name="T21" fmla="*/ 481 h 481"/>
                <a:gd name="T22" fmla="*/ 389 w 497"/>
                <a:gd name="T23" fmla="*/ 481 h 481"/>
                <a:gd name="T24" fmla="*/ 389 w 497"/>
                <a:gd name="T25" fmla="*/ 204 h 481"/>
                <a:gd name="T26" fmla="*/ 386 w 497"/>
                <a:gd name="T27" fmla="*/ 170 h 481"/>
                <a:gd name="T28" fmla="*/ 376 w 497"/>
                <a:gd name="T29" fmla="*/ 140 h 481"/>
                <a:gd name="T30" fmla="*/ 359 w 497"/>
                <a:gd name="T31" fmla="*/ 116 h 481"/>
                <a:gd name="T32" fmla="*/ 335 w 497"/>
                <a:gd name="T33" fmla="*/ 99 h 481"/>
                <a:gd name="T34" fmla="*/ 309 w 497"/>
                <a:gd name="T35" fmla="*/ 89 h 481"/>
                <a:gd name="T36" fmla="*/ 278 w 497"/>
                <a:gd name="T37" fmla="*/ 84 h 481"/>
                <a:gd name="T38" fmla="*/ 254 w 497"/>
                <a:gd name="T39" fmla="*/ 87 h 481"/>
                <a:gd name="T40" fmla="*/ 231 w 497"/>
                <a:gd name="T41" fmla="*/ 94 h 481"/>
                <a:gd name="T42" fmla="*/ 210 w 497"/>
                <a:gd name="T43" fmla="*/ 104 h 481"/>
                <a:gd name="T44" fmla="*/ 193 w 497"/>
                <a:gd name="T45" fmla="*/ 120 h 481"/>
                <a:gd name="T46" fmla="*/ 179 w 497"/>
                <a:gd name="T47" fmla="*/ 139 h 481"/>
                <a:gd name="T48" fmla="*/ 167 w 497"/>
                <a:gd name="T49" fmla="*/ 161 h 481"/>
                <a:gd name="T50" fmla="*/ 160 w 497"/>
                <a:gd name="T51" fmla="*/ 185 h 481"/>
                <a:gd name="T52" fmla="*/ 159 w 497"/>
                <a:gd name="T53" fmla="*/ 212 h 481"/>
                <a:gd name="T54" fmla="*/ 159 w 497"/>
                <a:gd name="T55" fmla="*/ 481 h 481"/>
                <a:gd name="T56" fmla="*/ 51 w 497"/>
                <a:gd name="T57" fmla="*/ 481 h 481"/>
                <a:gd name="T58" fmla="*/ 51 w 497"/>
                <a:gd name="T59" fmla="*/ 146 h 481"/>
                <a:gd name="T60" fmla="*/ 51 w 497"/>
                <a:gd name="T61" fmla="*/ 127 h 481"/>
                <a:gd name="T62" fmla="*/ 49 w 497"/>
                <a:gd name="T63" fmla="*/ 111 h 481"/>
                <a:gd name="T64" fmla="*/ 49 w 497"/>
                <a:gd name="T65" fmla="*/ 103 h 481"/>
                <a:gd name="T66" fmla="*/ 46 w 497"/>
                <a:gd name="T67" fmla="*/ 96 h 481"/>
                <a:gd name="T68" fmla="*/ 44 w 497"/>
                <a:gd name="T69" fmla="*/ 91 h 481"/>
                <a:gd name="T70" fmla="*/ 39 w 497"/>
                <a:gd name="T71" fmla="*/ 87 h 481"/>
                <a:gd name="T72" fmla="*/ 36 w 497"/>
                <a:gd name="T73" fmla="*/ 84 h 481"/>
                <a:gd name="T74" fmla="*/ 29 w 497"/>
                <a:gd name="T75" fmla="*/ 80 h 481"/>
                <a:gd name="T76" fmla="*/ 17 w 497"/>
                <a:gd name="T77" fmla="*/ 80 h 481"/>
                <a:gd name="T78" fmla="*/ 0 w 497"/>
                <a:gd name="T79" fmla="*/ 80 h 481"/>
                <a:gd name="T80" fmla="*/ 0 w 497"/>
                <a:gd name="T81" fmla="*/ 7 h 481"/>
                <a:gd name="T82" fmla="*/ 53 w 497"/>
                <a:gd name="T83" fmla="*/ 0 h 481"/>
                <a:gd name="T84" fmla="*/ 78 w 497"/>
                <a:gd name="T85" fmla="*/ 0 h 481"/>
                <a:gd name="T86" fmla="*/ 101 w 497"/>
                <a:gd name="T87" fmla="*/ 5 h 481"/>
                <a:gd name="T88" fmla="*/ 119 w 497"/>
                <a:gd name="T89" fmla="*/ 14 h 481"/>
                <a:gd name="T90" fmla="*/ 135 w 497"/>
                <a:gd name="T91" fmla="*/ 29 h 481"/>
                <a:gd name="T92" fmla="*/ 143 w 497"/>
                <a:gd name="T93" fmla="*/ 43 h 481"/>
                <a:gd name="T94" fmla="*/ 147 w 497"/>
                <a:gd name="T95" fmla="*/ 60 h 481"/>
                <a:gd name="T96" fmla="*/ 149 w 497"/>
                <a:gd name="T97" fmla="*/ 80 h 481"/>
                <a:gd name="T98" fmla="*/ 160 w 497"/>
                <a:gd name="T99" fmla="*/ 60 h 481"/>
                <a:gd name="T100" fmla="*/ 176 w 497"/>
                <a:gd name="T101" fmla="*/ 43 h 481"/>
                <a:gd name="T102" fmla="*/ 195 w 497"/>
                <a:gd name="T103" fmla="*/ 29 h 481"/>
                <a:gd name="T104" fmla="*/ 215 w 497"/>
                <a:gd name="T105" fmla="*/ 17 h 481"/>
                <a:gd name="T106" fmla="*/ 239 w 497"/>
                <a:gd name="T107" fmla="*/ 9 h 481"/>
                <a:gd name="T108" fmla="*/ 261 w 497"/>
                <a:gd name="T109" fmla="*/ 3 h 481"/>
                <a:gd name="T110" fmla="*/ 309 w 497"/>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7" h="481">
                  <a:moveTo>
                    <a:pt x="309" y="0"/>
                  </a:moveTo>
                  <a:lnTo>
                    <a:pt x="340" y="2"/>
                  </a:lnTo>
                  <a:lnTo>
                    <a:pt x="367" y="7"/>
                  </a:lnTo>
                  <a:lnTo>
                    <a:pt x="393" y="15"/>
                  </a:lnTo>
                  <a:lnTo>
                    <a:pt x="425" y="34"/>
                  </a:lnTo>
                  <a:lnTo>
                    <a:pt x="451" y="58"/>
                  </a:lnTo>
                  <a:lnTo>
                    <a:pt x="471" y="87"/>
                  </a:lnTo>
                  <a:lnTo>
                    <a:pt x="485" y="122"/>
                  </a:lnTo>
                  <a:lnTo>
                    <a:pt x="494" y="161"/>
                  </a:lnTo>
                  <a:lnTo>
                    <a:pt x="497" y="204"/>
                  </a:lnTo>
                  <a:lnTo>
                    <a:pt x="497" y="481"/>
                  </a:lnTo>
                  <a:lnTo>
                    <a:pt x="389" y="481"/>
                  </a:lnTo>
                  <a:lnTo>
                    <a:pt x="389" y="204"/>
                  </a:lnTo>
                  <a:lnTo>
                    <a:pt x="386" y="170"/>
                  </a:lnTo>
                  <a:lnTo>
                    <a:pt x="376" y="140"/>
                  </a:lnTo>
                  <a:lnTo>
                    <a:pt x="359" y="116"/>
                  </a:lnTo>
                  <a:lnTo>
                    <a:pt x="335" y="99"/>
                  </a:lnTo>
                  <a:lnTo>
                    <a:pt x="309" y="89"/>
                  </a:lnTo>
                  <a:lnTo>
                    <a:pt x="278" y="84"/>
                  </a:lnTo>
                  <a:lnTo>
                    <a:pt x="254" y="87"/>
                  </a:lnTo>
                  <a:lnTo>
                    <a:pt x="231" y="94"/>
                  </a:lnTo>
                  <a:lnTo>
                    <a:pt x="210" y="104"/>
                  </a:lnTo>
                  <a:lnTo>
                    <a:pt x="193" y="120"/>
                  </a:lnTo>
                  <a:lnTo>
                    <a:pt x="179" y="139"/>
                  </a:lnTo>
                  <a:lnTo>
                    <a:pt x="167" y="161"/>
                  </a:lnTo>
                  <a:lnTo>
                    <a:pt x="160" y="185"/>
                  </a:lnTo>
                  <a:lnTo>
                    <a:pt x="159" y="212"/>
                  </a:lnTo>
                  <a:lnTo>
                    <a:pt x="159" y="481"/>
                  </a:lnTo>
                  <a:lnTo>
                    <a:pt x="51" y="481"/>
                  </a:lnTo>
                  <a:lnTo>
                    <a:pt x="51" y="146"/>
                  </a:lnTo>
                  <a:lnTo>
                    <a:pt x="51" y="127"/>
                  </a:lnTo>
                  <a:lnTo>
                    <a:pt x="49" y="111"/>
                  </a:lnTo>
                  <a:lnTo>
                    <a:pt x="49" y="103"/>
                  </a:lnTo>
                  <a:lnTo>
                    <a:pt x="46" y="96"/>
                  </a:lnTo>
                  <a:lnTo>
                    <a:pt x="44" y="91"/>
                  </a:lnTo>
                  <a:lnTo>
                    <a:pt x="39" y="87"/>
                  </a:lnTo>
                  <a:lnTo>
                    <a:pt x="36" y="84"/>
                  </a:lnTo>
                  <a:lnTo>
                    <a:pt x="29" y="80"/>
                  </a:lnTo>
                  <a:lnTo>
                    <a:pt x="17" y="80"/>
                  </a:lnTo>
                  <a:lnTo>
                    <a:pt x="0" y="80"/>
                  </a:lnTo>
                  <a:lnTo>
                    <a:pt x="0" y="7"/>
                  </a:lnTo>
                  <a:lnTo>
                    <a:pt x="53" y="0"/>
                  </a:lnTo>
                  <a:lnTo>
                    <a:pt x="78" y="0"/>
                  </a:lnTo>
                  <a:lnTo>
                    <a:pt x="101" y="5"/>
                  </a:lnTo>
                  <a:lnTo>
                    <a:pt x="119" y="14"/>
                  </a:lnTo>
                  <a:lnTo>
                    <a:pt x="135" y="29"/>
                  </a:lnTo>
                  <a:lnTo>
                    <a:pt x="143" y="43"/>
                  </a:lnTo>
                  <a:lnTo>
                    <a:pt x="147" y="60"/>
                  </a:lnTo>
                  <a:lnTo>
                    <a:pt x="149" y="80"/>
                  </a:lnTo>
                  <a:lnTo>
                    <a:pt x="160" y="60"/>
                  </a:lnTo>
                  <a:lnTo>
                    <a:pt x="176" y="43"/>
                  </a:lnTo>
                  <a:lnTo>
                    <a:pt x="195" y="29"/>
                  </a:lnTo>
                  <a:lnTo>
                    <a:pt x="215" y="17"/>
                  </a:lnTo>
                  <a:lnTo>
                    <a:pt x="239" y="9"/>
                  </a:lnTo>
                  <a:lnTo>
                    <a:pt x="261"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29" name="Freeform 28"/>
            <p:cNvSpPr>
              <a:spLocks/>
            </p:cNvSpPr>
            <p:nvPr/>
          </p:nvSpPr>
          <p:spPr bwMode="auto">
            <a:xfrm>
              <a:off x="1993" y="2131"/>
              <a:ext cx="424" cy="495"/>
            </a:xfrm>
            <a:custGeom>
              <a:avLst/>
              <a:gdLst>
                <a:gd name="T0" fmla="*/ 253 w 424"/>
                <a:gd name="T1" fmla="*/ 2 h 495"/>
                <a:gd name="T2" fmla="*/ 325 w 424"/>
                <a:gd name="T3" fmla="*/ 21 h 495"/>
                <a:gd name="T4" fmla="*/ 380 w 424"/>
                <a:gd name="T5" fmla="*/ 57 h 495"/>
                <a:gd name="T6" fmla="*/ 410 w 424"/>
                <a:gd name="T7" fmla="*/ 110 h 495"/>
                <a:gd name="T8" fmla="*/ 320 w 424"/>
                <a:gd name="T9" fmla="*/ 142 h 495"/>
                <a:gd name="T10" fmla="*/ 310 w 424"/>
                <a:gd name="T11" fmla="*/ 113 h 495"/>
                <a:gd name="T12" fmla="*/ 294 w 424"/>
                <a:gd name="T13" fmla="*/ 100 h 495"/>
                <a:gd name="T14" fmla="*/ 269 w 424"/>
                <a:gd name="T15" fmla="*/ 88 h 495"/>
                <a:gd name="T16" fmla="*/ 212 w 424"/>
                <a:gd name="T17" fmla="*/ 81 h 495"/>
                <a:gd name="T18" fmla="*/ 159 w 424"/>
                <a:gd name="T19" fmla="*/ 91 h 495"/>
                <a:gd name="T20" fmla="*/ 135 w 424"/>
                <a:gd name="T21" fmla="*/ 105 h 495"/>
                <a:gd name="T22" fmla="*/ 123 w 424"/>
                <a:gd name="T23" fmla="*/ 118 h 495"/>
                <a:gd name="T24" fmla="*/ 115 w 424"/>
                <a:gd name="T25" fmla="*/ 146 h 495"/>
                <a:gd name="T26" fmla="*/ 129 w 424"/>
                <a:gd name="T27" fmla="*/ 177 h 495"/>
                <a:gd name="T28" fmla="*/ 166 w 424"/>
                <a:gd name="T29" fmla="*/ 192 h 495"/>
                <a:gd name="T30" fmla="*/ 228 w 424"/>
                <a:gd name="T31" fmla="*/ 204 h 495"/>
                <a:gd name="T32" fmla="*/ 334 w 424"/>
                <a:gd name="T33" fmla="*/ 225 h 495"/>
                <a:gd name="T34" fmla="*/ 388 w 424"/>
                <a:gd name="T35" fmla="*/ 254 h 495"/>
                <a:gd name="T36" fmla="*/ 416 w 424"/>
                <a:gd name="T37" fmla="*/ 296 h 495"/>
                <a:gd name="T38" fmla="*/ 424 w 424"/>
                <a:gd name="T39" fmla="*/ 344 h 495"/>
                <a:gd name="T40" fmla="*/ 416 w 424"/>
                <a:gd name="T41" fmla="*/ 392 h 495"/>
                <a:gd name="T42" fmla="*/ 385 w 424"/>
                <a:gd name="T43" fmla="*/ 439 h 495"/>
                <a:gd name="T44" fmla="*/ 328 w 424"/>
                <a:gd name="T45" fmla="*/ 474 h 495"/>
                <a:gd name="T46" fmla="*/ 257 w 424"/>
                <a:gd name="T47" fmla="*/ 493 h 495"/>
                <a:gd name="T48" fmla="*/ 178 w 424"/>
                <a:gd name="T49" fmla="*/ 493 h 495"/>
                <a:gd name="T50" fmla="*/ 105 w 424"/>
                <a:gd name="T51" fmla="*/ 480 h 495"/>
                <a:gd name="T52" fmla="*/ 47 w 424"/>
                <a:gd name="T53" fmla="*/ 444 h 495"/>
                <a:gd name="T54" fmla="*/ 12 w 424"/>
                <a:gd name="T55" fmla="*/ 396 h 495"/>
                <a:gd name="T56" fmla="*/ 0 w 424"/>
                <a:gd name="T57" fmla="*/ 344 h 495"/>
                <a:gd name="T58" fmla="*/ 110 w 424"/>
                <a:gd name="T59" fmla="*/ 361 h 495"/>
                <a:gd name="T60" fmla="*/ 123 w 424"/>
                <a:gd name="T61" fmla="*/ 384 h 495"/>
                <a:gd name="T62" fmla="*/ 142 w 424"/>
                <a:gd name="T63" fmla="*/ 397 h 495"/>
                <a:gd name="T64" fmla="*/ 175 w 424"/>
                <a:gd name="T65" fmla="*/ 411 h 495"/>
                <a:gd name="T66" fmla="*/ 253 w 424"/>
                <a:gd name="T67" fmla="*/ 413 h 495"/>
                <a:gd name="T68" fmla="*/ 289 w 424"/>
                <a:gd name="T69" fmla="*/ 401 h 495"/>
                <a:gd name="T70" fmla="*/ 308 w 424"/>
                <a:gd name="T71" fmla="*/ 387 h 495"/>
                <a:gd name="T72" fmla="*/ 323 w 424"/>
                <a:gd name="T73" fmla="*/ 363 h 495"/>
                <a:gd name="T74" fmla="*/ 323 w 424"/>
                <a:gd name="T75" fmla="*/ 324 h 495"/>
                <a:gd name="T76" fmla="*/ 298 w 424"/>
                <a:gd name="T77" fmla="*/ 298 h 495"/>
                <a:gd name="T78" fmla="*/ 221 w 424"/>
                <a:gd name="T79" fmla="*/ 279 h 495"/>
                <a:gd name="T80" fmla="*/ 113 w 424"/>
                <a:gd name="T81" fmla="*/ 261 h 495"/>
                <a:gd name="T82" fmla="*/ 53 w 424"/>
                <a:gd name="T83" fmla="*/ 233 h 495"/>
                <a:gd name="T84" fmla="*/ 21 w 424"/>
                <a:gd name="T85" fmla="*/ 195 h 495"/>
                <a:gd name="T86" fmla="*/ 12 w 424"/>
                <a:gd name="T87" fmla="*/ 149 h 495"/>
                <a:gd name="T88" fmla="*/ 19 w 424"/>
                <a:gd name="T89" fmla="*/ 103 h 495"/>
                <a:gd name="T90" fmla="*/ 48 w 424"/>
                <a:gd name="T91" fmla="*/ 57 h 495"/>
                <a:gd name="T92" fmla="*/ 105 w 424"/>
                <a:gd name="T93" fmla="*/ 21 h 495"/>
                <a:gd name="T94" fmla="*/ 175 w 424"/>
                <a:gd name="T95" fmla="*/ 2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495">
                  <a:moveTo>
                    <a:pt x="212" y="0"/>
                  </a:moveTo>
                  <a:lnTo>
                    <a:pt x="253" y="2"/>
                  </a:lnTo>
                  <a:lnTo>
                    <a:pt x="291" y="9"/>
                  </a:lnTo>
                  <a:lnTo>
                    <a:pt x="325" y="21"/>
                  </a:lnTo>
                  <a:lnTo>
                    <a:pt x="356" y="36"/>
                  </a:lnTo>
                  <a:lnTo>
                    <a:pt x="380" y="57"/>
                  </a:lnTo>
                  <a:lnTo>
                    <a:pt x="398" y="81"/>
                  </a:lnTo>
                  <a:lnTo>
                    <a:pt x="410" y="110"/>
                  </a:lnTo>
                  <a:lnTo>
                    <a:pt x="414" y="142"/>
                  </a:lnTo>
                  <a:lnTo>
                    <a:pt x="320" y="142"/>
                  </a:lnTo>
                  <a:lnTo>
                    <a:pt x="316" y="127"/>
                  </a:lnTo>
                  <a:lnTo>
                    <a:pt x="310" y="113"/>
                  </a:lnTo>
                  <a:lnTo>
                    <a:pt x="303" y="106"/>
                  </a:lnTo>
                  <a:lnTo>
                    <a:pt x="294" y="100"/>
                  </a:lnTo>
                  <a:lnTo>
                    <a:pt x="284" y="94"/>
                  </a:lnTo>
                  <a:lnTo>
                    <a:pt x="269" y="88"/>
                  </a:lnTo>
                  <a:lnTo>
                    <a:pt x="250" y="84"/>
                  </a:lnTo>
                  <a:lnTo>
                    <a:pt x="212" y="81"/>
                  </a:lnTo>
                  <a:lnTo>
                    <a:pt x="176" y="86"/>
                  </a:lnTo>
                  <a:lnTo>
                    <a:pt x="159" y="91"/>
                  </a:lnTo>
                  <a:lnTo>
                    <a:pt x="144" y="98"/>
                  </a:lnTo>
                  <a:lnTo>
                    <a:pt x="135" y="105"/>
                  </a:lnTo>
                  <a:lnTo>
                    <a:pt x="129" y="112"/>
                  </a:lnTo>
                  <a:lnTo>
                    <a:pt x="123" y="118"/>
                  </a:lnTo>
                  <a:lnTo>
                    <a:pt x="117" y="132"/>
                  </a:lnTo>
                  <a:lnTo>
                    <a:pt x="115" y="146"/>
                  </a:lnTo>
                  <a:lnTo>
                    <a:pt x="120" y="165"/>
                  </a:lnTo>
                  <a:lnTo>
                    <a:pt x="129" y="177"/>
                  </a:lnTo>
                  <a:lnTo>
                    <a:pt x="144" y="187"/>
                  </a:lnTo>
                  <a:lnTo>
                    <a:pt x="166" y="192"/>
                  </a:lnTo>
                  <a:lnTo>
                    <a:pt x="193" y="199"/>
                  </a:lnTo>
                  <a:lnTo>
                    <a:pt x="228" y="204"/>
                  </a:lnTo>
                  <a:lnTo>
                    <a:pt x="301" y="216"/>
                  </a:lnTo>
                  <a:lnTo>
                    <a:pt x="334" y="225"/>
                  </a:lnTo>
                  <a:lnTo>
                    <a:pt x="363" y="237"/>
                  </a:lnTo>
                  <a:lnTo>
                    <a:pt x="388" y="254"/>
                  </a:lnTo>
                  <a:lnTo>
                    <a:pt x="407" y="278"/>
                  </a:lnTo>
                  <a:lnTo>
                    <a:pt x="416" y="296"/>
                  </a:lnTo>
                  <a:lnTo>
                    <a:pt x="422" y="319"/>
                  </a:lnTo>
                  <a:lnTo>
                    <a:pt x="424" y="344"/>
                  </a:lnTo>
                  <a:lnTo>
                    <a:pt x="421" y="370"/>
                  </a:lnTo>
                  <a:lnTo>
                    <a:pt x="416" y="392"/>
                  </a:lnTo>
                  <a:lnTo>
                    <a:pt x="405" y="413"/>
                  </a:lnTo>
                  <a:lnTo>
                    <a:pt x="385" y="439"/>
                  </a:lnTo>
                  <a:lnTo>
                    <a:pt x="359" y="459"/>
                  </a:lnTo>
                  <a:lnTo>
                    <a:pt x="328" y="474"/>
                  </a:lnTo>
                  <a:lnTo>
                    <a:pt x="294" y="486"/>
                  </a:lnTo>
                  <a:lnTo>
                    <a:pt x="257" y="493"/>
                  </a:lnTo>
                  <a:lnTo>
                    <a:pt x="217" y="495"/>
                  </a:lnTo>
                  <a:lnTo>
                    <a:pt x="178" y="493"/>
                  </a:lnTo>
                  <a:lnTo>
                    <a:pt x="140" y="488"/>
                  </a:lnTo>
                  <a:lnTo>
                    <a:pt x="105" y="480"/>
                  </a:lnTo>
                  <a:lnTo>
                    <a:pt x="74" y="464"/>
                  </a:lnTo>
                  <a:lnTo>
                    <a:pt x="47" y="444"/>
                  </a:lnTo>
                  <a:lnTo>
                    <a:pt x="24" y="416"/>
                  </a:lnTo>
                  <a:lnTo>
                    <a:pt x="12" y="396"/>
                  </a:lnTo>
                  <a:lnTo>
                    <a:pt x="6" y="372"/>
                  </a:lnTo>
                  <a:lnTo>
                    <a:pt x="0" y="344"/>
                  </a:lnTo>
                  <a:lnTo>
                    <a:pt x="106" y="344"/>
                  </a:lnTo>
                  <a:lnTo>
                    <a:pt x="110" y="361"/>
                  </a:lnTo>
                  <a:lnTo>
                    <a:pt x="117" y="375"/>
                  </a:lnTo>
                  <a:lnTo>
                    <a:pt x="123" y="384"/>
                  </a:lnTo>
                  <a:lnTo>
                    <a:pt x="132" y="392"/>
                  </a:lnTo>
                  <a:lnTo>
                    <a:pt x="142" y="397"/>
                  </a:lnTo>
                  <a:lnTo>
                    <a:pt x="158" y="406"/>
                  </a:lnTo>
                  <a:lnTo>
                    <a:pt x="175" y="411"/>
                  </a:lnTo>
                  <a:lnTo>
                    <a:pt x="214" y="416"/>
                  </a:lnTo>
                  <a:lnTo>
                    <a:pt x="253" y="413"/>
                  </a:lnTo>
                  <a:lnTo>
                    <a:pt x="272" y="408"/>
                  </a:lnTo>
                  <a:lnTo>
                    <a:pt x="289" y="401"/>
                  </a:lnTo>
                  <a:lnTo>
                    <a:pt x="299" y="396"/>
                  </a:lnTo>
                  <a:lnTo>
                    <a:pt x="308" y="387"/>
                  </a:lnTo>
                  <a:lnTo>
                    <a:pt x="315" y="379"/>
                  </a:lnTo>
                  <a:lnTo>
                    <a:pt x="323" y="363"/>
                  </a:lnTo>
                  <a:lnTo>
                    <a:pt x="327" y="343"/>
                  </a:lnTo>
                  <a:lnTo>
                    <a:pt x="323" y="324"/>
                  </a:lnTo>
                  <a:lnTo>
                    <a:pt x="313" y="308"/>
                  </a:lnTo>
                  <a:lnTo>
                    <a:pt x="298" y="298"/>
                  </a:lnTo>
                  <a:lnTo>
                    <a:pt x="263" y="286"/>
                  </a:lnTo>
                  <a:lnTo>
                    <a:pt x="221" y="279"/>
                  </a:lnTo>
                  <a:lnTo>
                    <a:pt x="147" y="269"/>
                  </a:lnTo>
                  <a:lnTo>
                    <a:pt x="113" y="261"/>
                  </a:lnTo>
                  <a:lnTo>
                    <a:pt x="81" y="249"/>
                  </a:lnTo>
                  <a:lnTo>
                    <a:pt x="53" y="233"/>
                  </a:lnTo>
                  <a:lnTo>
                    <a:pt x="31" y="213"/>
                  </a:lnTo>
                  <a:lnTo>
                    <a:pt x="21" y="195"/>
                  </a:lnTo>
                  <a:lnTo>
                    <a:pt x="14" y="173"/>
                  </a:lnTo>
                  <a:lnTo>
                    <a:pt x="12" y="149"/>
                  </a:lnTo>
                  <a:lnTo>
                    <a:pt x="14" y="124"/>
                  </a:lnTo>
                  <a:lnTo>
                    <a:pt x="19" y="103"/>
                  </a:lnTo>
                  <a:lnTo>
                    <a:pt x="29" y="82"/>
                  </a:lnTo>
                  <a:lnTo>
                    <a:pt x="48" y="57"/>
                  </a:lnTo>
                  <a:lnTo>
                    <a:pt x="74" y="36"/>
                  </a:lnTo>
                  <a:lnTo>
                    <a:pt x="105" y="21"/>
                  </a:lnTo>
                  <a:lnTo>
                    <a:pt x="139" y="9"/>
                  </a:lnTo>
                  <a:lnTo>
                    <a:pt x="175"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0" name="Freeform 29"/>
            <p:cNvSpPr>
              <a:spLocks/>
            </p:cNvSpPr>
            <p:nvPr/>
          </p:nvSpPr>
          <p:spPr bwMode="auto">
            <a:xfrm>
              <a:off x="3102" y="2133"/>
              <a:ext cx="496" cy="481"/>
            </a:xfrm>
            <a:custGeom>
              <a:avLst/>
              <a:gdLst>
                <a:gd name="T0" fmla="*/ 308 w 496"/>
                <a:gd name="T1" fmla="*/ 0 h 481"/>
                <a:gd name="T2" fmla="*/ 338 w 496"/>
                <a:gd name="T3" fmla="*/ 2 h 481"/>
                <a:gd name="T4" fmla="*/ 366 w 496"/>
                <a:gd name="T5" fmla="*/ 7 h 481"/>
                <a:gd name="T6" fmla="*/ 391 w 496"/>
                <a:gd name="T7" fmla="*/ 15 h 481"/>
                <a:gd name="T8" fmla="*/ 424 w 496"/>
                <a:gd name="T9" fmla="*/ 34 h 481"/>
                <a:gd name="T10" fmla="*/ 450 w 496"/>
                <a:gd name="T11" fmla="*/ 58 h 481"/>
                <a:gd name="T12" fmla="*/ 470 w 496"/>
                <a:gd name="T13" fmla="*/ 87 h 481"/>
                <a:gd name="T14" fmla="*/ 484 w 496"/>
                <a:gd name="T15" fmla="*/ 122 h 481"/>
                <a:gd name="T16" fmla="*/ 492 w 496"/>
                <a:gd name="T17" fmla="*/ 161 h 481"/>
                <a:gd name="T18" fmla="*/ 496 w 496"/>
                <a:gd name="T19" fmla="*/ 204 h 481"/>
                <a:gd name="T20" fmla="*/ 496 w 496"/>
                <a:gd name="T21" fmla="*/ 481 h 481"/>
                <a:gd name="T22" fmla="*/ 388 w 496"/>
                <a:gd name="T23" fmla="*/ 481 h 481"/>
                <a:gd name="T24" fmla="*/ 388 w 496"/>
                <a:gd name="T25" fmla="*/ 204 h 481"/>
                <a:gd name="T26" fmla="*/ 385 w 496"/>
                <a:gd name="T27" fmla="*/ 170 h 481"/>
                <a:gd name="T28" fmla="*/ 374 w 496"/>
                <a:gd name="T29" fmla="*/ 140 h 481"/>
                <a:gd name="T30" fmla="*/ 357 w 496"/>
                <a:gd name="T31" fmla="*/ 116 h 481"/>
                <a:gd name="T32" fmla="*/ 333 w 496"/>
                <a:gd name="T33" fmla="*/ 99 h 481"/>
                <a:gd name="T34" fmla="*/ 308 w 496"/>
                <a:gd name="T35" fmla="*/ 89 h 481"/>
                <a:gd name="T36" fmla="*/ 277 w 496"/>
                <a:gd name="T37" fmla="*/ 84 h 481"/>
                <a:gd name="T38" fmla="*/ 253 w 496"/>
                <a:gd name="T39" fmla="*/ 87 h 481"/>
                <a:gd name="T40" fmla="*/ 229 w 496"/>
                <a:gd name="T41" fmla="*/ 94 h 481"/>
                <a:gd name="T42" fmla="*/ 210 w 496"/>
                <a:gd name="T43" fmla="*/ 104 h 481"/>
                <a:gd name="T44" fmla="*/ 192 w 496"/>
                <a:gd name="T45" fmla="*/ 120 h 481"/>
                <a:gd name="T46" fmla="*/ 178 w 496"/>
                <a:gd name="T47" fmla="*/ 139 h 481"/>
                <a:gd name="T48" fmla="*/ 166 w 496"/>
                <a:gd name="T49" fmla="*/ 161 h 481"/>
                <a:gd name="T50" fmla="*/ 159 w 496"/>
                <a:gd name="T51" fmla="*/ 185 h 481"/>
                <a:gd name="T52" fmla="*/ 157 w 496"/>
                <a:gd name="T53" fmla="*/ 212 h 481"/>
                <a:gd name="T54" fmla="*/ 157 w 496"/>
                <a:gd name="T55" fmla="*/ 481 h 481"/>
                <a:gd name="T56" fmla="*/ 50 w 496"/>
                <a:gd name="T57" fmla="*/ 481 h 481"/>
                <a:gd name="T58" fmla="*/ 50 w 496"/>
                <a:gd name="T59" fmla="*/ 146 h 481"/>
                <a:gd name="T60" fmla="*/ 50 w 496"/>
                <a:gd name="T61" fmla="*/ 127 h 481"/>
                <a:gd name="T62" fmla="*/ 48 w 496"/>
                <a:gd name="T63" fmla="*/ 111 h 481"/>
                <a:gd name="T64" fmla="*/ 48 w 496"/>
                <a:gd name="T65" fmla="*/ 103 h 481"/>
                <a:gd name="T66" fmla="*/ 45 w 496"/>
                <a:gd name="T67" fmla="*/ 96 h 481"/>
                <a:gd name="T68" fmla="*/ 43 w 496"/>
                <a:gd name="T69" fmla="*/ 91 h 481"/>
                <a:gd name="T70" fmla="*/ 39 w 496"/>
                <a:gd name="T71" fmla="*/ 87 h 481"/>
                <a:gd name="T72" fmla="*/ 34 w 496"/>
                <a:gd name="T73" fmla="*/ 84 h 481"/>
                <a:gd name="T74" fmla="*/ 28 w 496"/>
                <a:gd name="T75" fmla="*/ 80 h 481"/>
                <a:gd name="T76" fmla="*/ 16 w 496"/>
                <a:gd name="T77" fmla="*/ 80 h 481"/>
                <a:gd name="T78" fmla="*/ 0 w 496"/>
                <a:gd name="T79" fmla="*/ 80 h 481"/>
                <a:gd name="T80" fmla="*/ 0 w 496"/>
                <a:gd name="T81" fmla="*/ 7 h 481"/>
                <a:gd name="T82" fmla="*/ 51 w 496"/>
                <a:gd name="T83" fmla="*/ 0 h 481"/>
                <a:gd name="T84" fmla="*/ 77 w 496"/>
                <a:gd name="T85" fmla="*/ 0 h 481"/>
                <a:gd name="T86" fmla="*/ 99 w 496"/>
                <a:gd name="T87" fmla="*/ 5 h 481"/>
                <a:gd name="T88" fmla="*/ 118 w 496"/>
                <a:gd name="T89" fmla="*/ 14 h 481"/>
                <a:gd name="T90" fmla="*/ 133 w 496"/>
                <a:gd name="T91" fmla="*/ 29 h 481"/>
                <a:gd name="T92" fmla="*/ 142 w 496"/>
                <a:gd name="T93" fmla="*/ 43 h 481"/>
                <a:gd name="T94" fmla="*/ 145 w 496"/>
                <a:gd name="T95" fmla="*/ 60 h 481"/>
                <a:gd name="T96" fmla="*/ 147 w 496"/>
                <a:gd name="T97" fmla="*/ 80 h 481"/>
                <a:gd name="T98" fmla="*/ 159 w 496"/>
                <a:gd name="T99" fmla="*/ 60 h 481"/>
                <a:gd name="T100" fmla="*/ 174 w 496"/>
                <a:gd name="T101" fmla="*/ 43 h 481"/>
                <a:gd name="T102" fmla="*/ 193 w 496"/>
                <a:gd name="T103" fmla="*/ 29 h 481"/>
                <a:gd name="T104" fmla="*/ 214 w 496"/>
                <a:gd name="T105" fmla="*/ 17 h 481"/>
                <a:gd name="T106" fmla="*/ 238 w 496"/>
                <a:gd name="T107" fmla="*/ 9 h 481"/>
                <a:gd name="T108" fmla="*/ 260 w 496"/>
                <a:gd name="T109" fmla="*/ 3 h 481"/>
                <a:gd name="T110" fmla="*/ 308 w 496"/>
                <a:gd name="T11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81">
                  <a:moveTo>
                    <a:pt x="308" y="0"/>
                  </a:moveTo>
                  <a:lnTo>
                    <a:pt x="338" y="2"/>
                  </a:lnTo>
                  <a:lnTo>
                    <a:pt x="366" y="7"/>
                  </a:lnTo>
                  <a:lnTo>
                    <a:pt x="391" y="15"/>
                  </a:lnTo>
                  <a:lnTo>
                    <a:pt x="424" y="34"/>
                  </a:lnTo>
                  <a:lnTo>
                    <a:pt x="450" y="58"/>
                  </a:lnTo>
                  <a:lnTo>
                    <a:pt x="470" y="87"/>
                  </a:lnTo>
                  <a:lnTo>
                    <a:pt x="484" y="122"/>
                  </a:lnTo>
                  <a:lnTo>
                    <a:pt x="492" y="161"/>
                  </a:lnTo>
                  <a:lnTo>
                    <a:pt x="496" y="204"/>
                  </a:lnTo>
                  <a:lnTo>
                    <a:pt x="496" y="481"/>
                  </a:lnTo>
                  <a:lnTo>
                    <a:pt x="388" y="481"/>
                  </a:lnTo>
                  <a:lnTo>
                    <a:pt x="388" y="204"/>
                  </a:lnTo>
                  <a:lnTo>
                    <a:pt x="385" y="170"/>
                  </a:lnTo>
                  <a:lnTo>
                    <a:pt x="374" y="140"/>
                  </a:lnTo>
                  <a:lnTo>
                    <a:pt x="357" y="116"/>
                  </a:lnTo>
                  <a:lnTo>
                    <a:pt x="333" y="99"/>
                  </a:lnTo>
                  <a:lnTo>
                    <a:pt x="308" y="89"/>
                  </a:lnTo>
                  <a:lnTo>
                    <a:pt x="277" y="84"/>
                  </a:lnTo>
                  <a:lnTo>
                    <a:pt x="253" y="87"/>
                  </a:lnTo>
                  <a:lnTo>
                    <a:pt x="229" y="94"/>
                  </a:lnTo>
                  <a:lnTo>
                    <a:pt x="210" y="104"/>
                  </a:lnTo>
                  <a:lnTo>
                    <a:pt x="192" y="120"/>
                  </a:lnTo>
                  <a:lnTo>
                    <a:pt x="178" y="139"/>
                  </a:lnTo>
                  <a:lnTo>
                    <a:pt x="166" y="161"/>
                  </a:lnTo>
                  <a:lnTo>
                    <a:pt x="159" y="185"/>
                  </a:lnTo>
                  <a:lnTo>
                    <a:pt x="157" y="212"/>
                  </a:lnTo>
                  <a:lnTo>
                    <a:pt x="157" y="481"/>
                  </a:lnTo>
                  <a:lnTo>
                    <a:pt x="50" y="481"/>
                  </a:lnTo>
                  <a:lnTo>
                    <a:pt x="50" y="146"/>
                  </a:lnTo>
                  <a:lnTo>
                    <a:pt x="50" y="127"/>
                  </a:lnTo>
                  <a:lnTo>
                    <a:pt x="48" y="111"/>
                  </a:lnTo>
                  <a:lnTo>
                    <a:pt x="48" y="103"/>
                  </a:lnTo>
                  <a:lnTo>
                    <a:pt x="45" y="96"/>
                  </a:lnTo>
                  <a:lnTo>
                    <a:pt x="43" y="91"/>
                  </a:lnTo>
                  <a:lnTo>
                    <a:pt x="39" y="87"/>
                  </a:lnTo>
                  <a:lnTo>
                    <a:pt x="34" y="84"/>
                  </a:lnTo>
                  <a:lnTo>
                    <a:pt x="28" y="80"/>
                  </a:lnTo>
                  <a:lnTo>
                    <a:pt x="16" y="80"/>
                  </a:lnTo>
                  <a:lnTo>
                    <a:pt x="0" y="80"/>
                  </a:lnTo>
                  <a:lnTo>
                    <a:pt x="0" y="7"/>
                  </a:lnTo>
                  <a:lnTo>
                    <a:pt x="51" y="0"/>
                  </a:lnTo>
                  <a:lnTo>
                    <a:pt x="77" y="0"/>
                  </a:lnTo>
                  <a:lnTo>
                    <a:pt x="99" y="5"/>
                  </a:lnTo>
                  <a:lnTo>
                    <a:pt x="118" y="14"/>
                  </a:lnTo>
                  <a:lnTo>
                    <a:pt x="133" y="29"/>
                  </a:lnTo>
                  <a:lnTo>
                    <a:pt x="142" y="43"/>
                  </a:lnTo>
                  <a:lnTo>
                    <a:pt x="145" y="60"/>
                  </a:lnTo>
                  <a:lnTo>
                    <a:pt x="147" y="80"/>
                  </a:lnTo>
                  <a:lnTo>
                    <a:pt x="159" y="60"/>
                  </a:lnTo>
                  <a:lnTo>
                    <a:pt x="174" y="43"/>
                  </a:lnTo>
                  <a:lnTo>
                    <a:pt x="193" y="29"/>
                  </a:lnTo>
                  <a:lnTo>
                    <a:pt x="214" y="17"/>
                  </a:lnTo>
                  <a:lnTo>
                    <a:pt x="238" y="9"/>
                  </a:lnTo>
                  <a:lnTo>
                    <a:pt x="260"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1" name="Freeform 30"/>
            <p:cNvSpPr>
              <a:spLocks/>
            </p:cNvSpPr>
            <p:nvPr/>
          </p:nvSpPr>
          <p:spPr bwMode="auto">
            <a:xfrm>
              <a:off x="3676" y="1931"/>
              <a:ext cx="128" cy="128"/>
            </a:xfrm>
            <a:custGeom>
              <a:avLst/>
              <a:gdLst>
                <a:gd name="T0" fmla="*/ 63 w 128"/>
                <a:gd name="T1" fmla="*/ 0 h 128"/>
                <a:gd name="T2" fmla="*/ 87 w 128"/>
                <a:gd name="T3" fmla="*/ 5 h 128"/>
                <a:gd name="T4" fmla="*/ 108 w 128"/>
                <a:gd name="T5" fmla="*/ 17 h 128"/>
                <a:gd name="T6" fmla="*/ 120 w 128"/>
                <a:gd name="T7" fmla="*/ 29 h 128"/>
                <a:gd name="T8" fmla="*/ 125 w 128"/>
                <a:gd name="T9" fmla="*/ 45 h 128"/>
                <a:gd name="T10" fmla="*/ 128 w 128"/>
                <a:gd name="T11" fmla="*/ 63 h 128"/>
                <a:gd name="T12" fmla="*/ 125 w 128"/>
                <a:gd name="T13" fmla="*/ 82 h 128"/>
                <a:gd name="T14" fmla="*/ 120 w 128"/>
                <a:gd name="T15" fmla="*/ 99 h 128"/>
                <a:gd name="T16" fmla="*/ 108 w 128"/>
                <a:gd name="T17" fmla="*/ 111 h 128"/>
                <a:gd name="T18" fmla="*/ 87 w 128"/>
                <a:gd name="T19" fmla="*/ 123 h 128"/>
                <a:gd name="T20" fmla="*/ 65 w 128"/>
                <a:gd name="T21" fmla="*/ 128 h 128"/>
                <a:gd name="T22" fmla="*/ 41 w 128"/>
                <a:gd name="T23" fmla="*/ 125 h 128"/>
                <a:gd name="T24" fmla="*/ 21 w 128"/>
                <a:gd name="T25" fmla="*/ 113 h 128"/>
                <a:gd name="T26" fmla="*/ 9 w 128"/>
                <a:gd name="T27" fmla="*/ 99 h 128"/>
                <a:gd name="T28" fmla="*/ 2 w 128"/>
                <a:gd name="T29" fmla="*/ 84 h 128"/>
                <a:gd name="T30" fmla="*/ 0 w 128"/>
                <a:gd name="T31" fmla="*/ 63 h 128"/>
                <a:gd name="T32" fmla="*/ 2 w 128"/>
                <a:gd name="T33" fmla="*/ 45 h 128"/>
                <a:gd name="T34" fmla="*/ 9 w 128"/>
                <a:gd name="T35" fmla="*/ 29 h 128"/>
                <a:gd name="T36" fmla="*/ 19 w 128"/>
                <a:gd name="T37" fmla="*/ 17 h 128"/>
                <a:gd name="T38" fmla="*/ 41 w 128"/>
                <a:gd name="T39" fmla="*/ 5 h 128"/>
                <a:gd name="T40" fmla="*/ 63 w 128"/>
                <a:gd name="T4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28">
                  <a:moveTo>
                    <a:pt x="63" y="0"/>
                  </a:moveTo>
                  <a:lnTo>
                    <a:pt x="87" y="5"/>
                  </a:lnTo>
                  <a:lnTo>
                    <a:pt x="108" y="17"/>
                  </a:lnTo>
                  <a:lnTo>
                    <a:pt x="120" y="29"/>
                  </a:lnTo>
                  <a:lnTo>
                    <a:pt x="125" y="45"/>
                  </a:lnTo>
                  <a:lnTo>
                    <a:pt x="128" y="63"/>
                  </a:lnTo>
                  <a:lnTo>
                    <a:pt x="125" y="82"/>
                  </a:lnTo>
                  <a:lnTo>
                    <a:pt x="120" y="99"/>
                  </a:lnTo>
                  <a:lnTo>
                    <a:pt x="108" y="111"/>
                  </a:lnTo>
                  <a:lnTo>
                    <a:pt x="87" y="123"/>
                  </a:lnTo>
                  <a:lnTo>
                    <a:pt x="65" y="128"/>
                  </a:lnTo>
                  <a:lnTo>
                    <a:pt x="41" y="125"/>
                  </a:lnTo>
                  <a:lnTo>
                    <a:pt x="21" y="113"/>
                  </a:lnTo>
                  <a:lnTo>
                    <a:pt x="9" y="99"/>
                  </a:lnTo>
                  <a:lnTo>
                    <a:pt x="2" y="84"/>
                  </a:lnTo>
                  <a:lnTo>
                    <a:pt x="0" y="63"/>
                  </a:lnTo>
                  <a:lnTo>
                    <a:pt x="2" y="45"/>
                  </a:lnTo>
                  <a:lnTo>
                    <a:pt x="9" y="29"/>
                  </a:lnTo>
                  <a:lnTo>
                    <a:pt x="19" y="17"/>
                  </a:lnTo>
                  <a:lnTo>
                    <a:pt x="41" y="5"/>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37" name="Rectangle 36"/>
            <p:cNvSpPr>
              <a:spLocks noChangeArrowheads="1"/>
            </p:cNvSpPr>
            <p:nvPr/>
          </p:nvSpPr>
          <p:spPr bwMode="auto">
            <a:xfrm>
              <a:off x="3686" y="2142"/>
              <a:ext cx="106" cy="47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1" name="Freeform 40"/>
            <p:cNvSpPr>
              <a:spLocks noEditPoints="1"/>
            </p:cNvSpPr>
            <p:nvPr/>
          </p:nvSpPr>
          <p:spPr bwMode="auto">
            <a:xfrm>
              <a:off x="3869" y="2133"/>
              <a:ext cx="499" cy="490"/>
            </a:xfrm>
            <a:custGeom>
              <a:avLst/>
              <a:gdLst>
                <a:gd name="T0" fmla="*/ 219 w 499"/>
                <a:gd name="T1" fmla="*/ 96 h 490"/>
                <a:gd name="T2" fmla="*/ 171 w 499"/>
                <a:gd name="T3" fmla="*/ 115 h 490"/>
                <a:gd name="T4" fmla="*/ 132 w 499"/>
                <a:gd name="T5" fmla="*/ 152 h 490"/>
                <a:gd name="T6" fmla="*/ 110 w 499"/>
                <a:gd name="T7" fmla="*/ 207 h 490"/>
                <a:gd name="T8" fmla="*/ 110 w 499"/>
                <a:gd name="T9" fmla="*/ 279 h 490"/>
                <a:gd name="T10" fmla="*/ 134 w 499"/>
                <a:gd name="T11" fmla="*/ 337 h 490"/>
                <a:gd name="T12" fmla="*/ 173 w 499"/>
                <a:gd name="T13" fmla="*/ 375 h 490"/>
                <a:gd name="T14" fmla="*/ 224 w 499"/>
                <a:gd name="T15" fmla="*/ 394 h 490"/>
                <a:gd name="T16" fmla="*/ 277 w 499"/>
                <a:gd name="T17" fmla="*/ 394 h 490"/>
                <a:gd name="T18" fmla="*/ 327 w 499"/>
                <a:gd name="T19" fmla="*/ 373 h 490"/>
                <a:gd name="T20" fmla="*/ 366 w 499"/>
                <a:gd name="T21" fmla="*/ 336 h 490"/>
                <a:gd name="T22" fmla="*/ 390 w 499"/>
                <a:gd name="T23" fmla="*/ 279 h 490"/>
                <a:gd name="T24" fmla="*/ 390 w 499"/>
                <a:gd name="T25" fmla="*/ 207 h 490"/>
                <a:gd name="T26" fmla="*/ 364 w 499"/>
                <a:gd name="T27" fmla="*/ 151 h 490"/>
                <a:gd name="T28" fmla="*/ 325 w 499"/>
                <a:gd name="T29" fmla="*/ 113 h 490"/>
                <a:gd name="T30" fmla="*/ 272 w 499"/>
                <a:gd name="T31" fmla="*/ 94 h 490"/>
                <a:gd name="T32" fmla="*/ 245 w 499"/>
                <a:gd name="T33" fmla="*/ 0 h 490"/>
                <a:gd name="T34" fmla="*/ 340 w 499"/>
                <a:gd name="T35" fmla="*/ 14 h 490"/>
                <a:gd name="T36" fmla="*/ 422 w 499"/>
                <a:gd name="T37" fmla="*/ 58 h 490"/>
                <a:gd name="T38" fmla="*/ 463 w 499"/>
                <a:gd name="T39" fmla="*/ 106 h 490"/>
                <a:gd name="T40" fmla="*/ 491 w 499"/>
                <a:gd name="T41" fmla="*/ 168 h 490"/>
                <a:gd name="T42" fmla="*/ 499 w 499"/>
                <a:gd name="T43" fmla="*/ 243 h 490"/>
                <a:gd name="T44" fmla="*/ 489 w 499"/>
                <a:gd name="T45" fmla="*/ 318 h 490"/>
                <a:gd name="T46" fmla="*/ 462 w 499"/>
                <a:gd name="T47" fmla="*/ 380 h 490"/>
                <a:gd name="T48" fmla="*/ 421 w 499"/>
                <a:gd name="T49" fmla="*/ 430 h 490"/>
                <a:gd name="T50" fmla="*/ 340 w 499"/>
                <a:gd name="T51" fmla="*/ 474 h 490"/>
                <a:gd name="T52" fmla="*/ 250 w 499"/>
                <a:gd name="T53" fmla="*/ 490 h 490"/>
                <a:gd name="T54" fmla="*/ 157 w 499"/>
                <a:gd name="T55" fmla="*/ 474 h 490"/>
                <a:gd name="T56" fmla="*/ 79 w 499"/>
                <a:gd name="T57" fmla="*/ 430 h 490"/>
                <a:gd name="T58" fmla="*/ 38 w 499"/>
                <a:gd name="T59" fmla="*/ 380 h 490"/>
                <a:gd name="T60" fmla="*/ 11 w 499"/>
                <a:gd name="T61" fmla="*/ 318 h 490"/>
                <a:gd name="T62" fmla="*/ 0 w 499"/>
                <a:gd name="T63" fmla="*/ 243 h 490"/>
                <a:gd name="T64" fmla="*/ 11 w 499"/>
                <a:gd name="T65" fmla="*/ 168 h 490"/>
                <a:gd name="T66" fmla="*/ 36 w 499"/>
                <a:gd name="T67" fmla="*/ 108 h 490"/>
                <a:gd name="T68" fmla="*/ 77 w 499"/>
                <a:gd name="T69" fmla="*/ 60 h 490"/>
                <a:gd name="T70" fmla="*/ 156 w 499"/>
                <a:gd name="T71" fmla="*/ 14 h 490"/>
                <a:gd name="T72" fmla="*/ 245 w 499"/>
                <a:gd name="T73"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9" h="490">
                  <a:moveTo>
                    <a:pt x="245" y="94"/>
                  </a:moveTo>
                  <a:lnTo>
                    <a:pt x="219" y="96"/>
                  </a:lnTo>
                  <a:lnTo>
                    <a:pt x="193" y="104"/>
                  </a:lnTo>
                  <a:lnTo>
                    <a:pt x="171" y="115"/>
                  </a:lnTo>
                  <a:lnTo>
                    <a:pt x="149" y="132"/>
                  </a:lnTo>
                  <a:lnTo>
                    <a:pt x="132" y="152"/>
                  </a:lnTo>
                  <a:lnTo>
                    <a:pt x="118" y="178"/>
                  </a:lnTo>
                  <a:lnTo>
                    <a:pt x="110" y="207"/>
                  </a:lnTo>
                  <a:lnTo>
                    <a:pt x="106" y="243"/>
                  </a:lnTo>
                  <a:lnTo>
                    <a:pt x="110" y="279"/>
                  </a:lnTo>
                  <a:lnTo>
                    <a:pt x="118" y="310"/>
                  </a:lnTo>
                  <a:lnTo>
                    <a:pt x="134" y="337"/>
                  </a:lnTo>
                  <a:lnTo>
                    <a:pt x="151" y="358"/>
                  </a:lnTo>
                  <a:lnTo>
                    <a:pt x="173" y="375"/>
                  </a:lnTo>
                  <a:lnTo>
                    <a:pt x="198" y="387"/>
                  </a:lnTo>
                  <a:lnTo>
                    <a:pt x="224" y="394"/>
                  </a:lnTo>
                  <a:lnTo>
                    <a:pt x="251" y="395"/>
                  </a:lnTo>
                  <a:lnTo>
                    <a:pt x="277" y="394"/>
                  </a:lnTo>
                  <a:lnTo>
                    <a:pt x="303" y="387"/>
                  </a:lnTo>
                  <a:lnTo>
                    <a:pt x="327" y="373"/>
                  </a:lnTo>
                  <a:lnTo>
                    <a:pt x="349" y="358"/>
                  </a:lnTo>
                  <a:lnTo>
                    <a:pt x="366" y="336"/>
                  </a:lnTo>
                  <a:lnTo>
                    <a:pt x="380" y="310"/>
                  </a:lnTo>
                  <a:lnTo>
                    <a:pt x="390" y="279"/>
                  </a:lnTo>
                  <a:lnTo>
                    <a:pt x="393" y="243"/>
                  </a:lnTo>
                  <a:lnTo>
                    <a:pt x="390" y="207"/>
                  </a:lnTo>
                  <a:lnTo>
                    <a:pt x="380" y="176"/>
                  </a:lnTo>
                  <a:lnTo>
                    <a:pt x="364" y="151"/>
                  </a:lnTo>
                  <a:lnTo>
                    <a:pt x="347" y="128"/>
                  </a:lnTo>
                  <a:lnTo>
                    <a:pt x="325" y="113"/>
                  </a:lnTo>
                  <a:lnTo>
                    <a:pt x="299" y="101"/>
                  </a:lnTo>
                  <a:lnTo>
                    <a:pt x="272" y="94"/>
                  </a:lnTo>
                  <a:lnTo>
                    <a:pt x="245" y="94"/>
                  </a:lnTo>
                  <a:close/>
                  <a:moveTo>
                    <a:pt x="245" y="0"/>
                  </a:moveTo>
                  <a:lnTo>
                    <a:pt x="294" y="3"/>
                  </a:lnTo>
                  <a:lnTo>
                    <a:pt x="340" y="14"/>
                  </a:lnTo>
                  <a:lnTo>
                    <a:pt x="385" y="33"/>
                  </a:lnTo>
                  <a:lnTo>
                    <a:pt x="422" y="58"/>
                  </a:lnTo>
                  <a:lnTo>
                    <a:pt x="445" y="80"/>
                  </a:lnTo>
                  <a:lnTo>
                    <a:pt x="463" y="106"/>
                  </a:lnTo>
                  <a:lnTo>
                    <a:pt x="479" y="135"/>
                  </a:lnTo>
                  <a:lnTo>
                    <a:pt x="491" y="168"/>
                  </a:lnTo>
                  <a:lnTo>
                    <a:pt x="497" y="204"/>
                  </a:lnTo>
                  <a:lnTo>
                    <a:pt x="499" y="243"/>
                  </a:lnTo>
                  <a:lnTo>
                    <a:pt x="497" y="282"/>
                  </a:lnTo>
                  <a:lnTo>
                    <a:pt x="489" y="318"/>
                  </a:lnTo>
                  <a:lnTo>
                    <a:pt x="477" y="351"/>
                  </a:lnTo>
                  <a:lnTo>
                    <a:pt x="462" y="380"/>
                  </a:lnTo>
                  <a:lnTo>
                    <a:pt x="443" y="406"/>
                  </a:lnTo>
                  <a:lnTo>
                    <a:pt x="421" y="430"/>
                  </a:lnTo>
                  <a:lnTo>
                    <a:pt x="383" y="455"/>
                  </a:lnTo>
                  <a:lnTo>
                    <a:pt x="340" y="474"/>
                  </a:lnTo>
                  <a:lnTo>
                    <a:pt x="296" y="486"/>
                  </a:lnTo>
                  <a:lnTo>
                    <a:pt x="250" y="490"/>
                  </a:lnTo>
                  <a:lnTo>
                    <a:pt x="204" y="486"/>
                  </a:lnTo>
                  <a:lnTo>
                    <a:pt x="157" y="474"/>
                  </a:lnTo>
                  <a:lnTo>
                    <a:pt x="115" y="455"/>
                  </a:lnTo>
                  <a:lnTo>
                    <a:pt x="79" y="430"/>
                  </a:lnTo>
                  <a:lnTo>
                    <a:pt x="57" y="406"/>
                  </a:lnTo>
                  <a:lnTo>
                    <a:pt x="38" y="380"/>
                  </a:lnTo>
                  <a:lnTo>
                    <a:pt x="23" y="351"/>
                  </a:lnTo>
                  <a:lnTo>
                    <a:pt x="11" y="318"/>
                  </a:lnTo>
                  <a:lnTo>
                    <a:pt x="2" y="282"/>
                  </a:lnTo>
                  <a:lnTo>
                    <a:pt x="0" y="243"/>
                  </a:lnTo>
                  <a:lnTo>
                    <a:pt x="2" y="204"/>
                  </a:lnTo>
                  <a:lnTo>
                    <a:pt x="11" y="168"/>
                  </a:lnTo>
                  <a:lnTo>
                    <a:pt x="21" y="137"/>
                  </a:lnTo>
                  <a:lnTo>
                    <a:pt x="36" y="108"/>
                  </a:lnTo>
                  <a:lnTo>
                    <a:pt x="55" y="82"/>
                  </a:lnTo>
                  <a:lnTo>
                    <a:pt x="77" y="60"/>
                  </a:lnTo>
                  <a:lnTo>
                    <a:pt x="113" y="34"/>
                  </a:lnTo>
                  <a:lnTo>
                    <a:pt x="156" y="14"/>
                  </a:lnTo>
                  <a:lnTo>
                    <a:pt x="200" y="3"/>
                  </a:lnTo>
                  <a:lnTo>
                    <a:pt x="2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2" name="Freeform 41"/>
            <p:cNvSpPr>
              <a:spLocks/>
            </p:cNvSpPr>
            <p:nvPr/>
          </p:nvSpPr>
          <p:spPr bwMode="auto">
            <a:xfrm>
              <a:off x="44" y="1928"/>
              <a:ext cx="509" cy="686"/>
            </a:xfrm>
            <a:custGeom>
              <a:avLst/>
              <a:gdLst>
                <a:gd name="T0" fmla="*/ 0 w 509"/>
                <a:gd name="T1" fmla="*/ 0 h 686"/>
                <a:gd name="T2" fmla="*/ 509 w 509"/>
                <a:gd name="T3" fmla="*/ 0 h 686"/>
                <a:gd name="T4" fmla="*/ 509 w 509"/>
                <a:gd name="T5" fmla="*/ 101 h 686"/>
                <a:gd name="T6" fmla="*/ 311 w 509"/>
                <a:gd name="T7" fmla="*/ 101 h 686"/>
                <a:gd name="T8" fmla="*/ 311 w 509"/>
                <a:gd name="T9" fmla="*/ 686 h 686"/>
                <a:gd name="T10" fmla="*/ 198 w 509"/>
                <a:gd name="T11" fmla="*/ 686 h 686"/>
                <a:gd name="T12" fmla="*/ 198 w 509"/>
                <a:gd name="T13" fmla="*/ 101 h 686"/>
                <a:gd name="T14" fmla="*/ 0 w 509"/>
                <a:gd name="T15" fmla="*/ 101 h 686"/>
                <a:gd name="T16" fmla="*/ 0 w 509"/>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9" h="686">
                  <a:moveTo>
                    <a:pt x="0" y="0"/>
                  </a:moveTo>
                  <a:lnTo>
                    <a:pt x="509" y="0"/>
                  </a:lnTo>
                  <a:lnTo>
                    <a:pt x="509" y="101"/>
                  </a:lnTo>
                  <a:lnTo>
                    <a:pt x="311" y="101"/>
                  </a:lnTo>
                  <a:lnTo>
                    <a:pt x="311" y="686"/>
                  </a:lnTo>
                  <a:lnTo>
                    <a:pt x="198" y="686"/>
                  </a:lnTo>
                  <a:lnTo>
                    <a:pt x="198" y="101"/>
                  </a:lnTo>
                  <a:lnTo>
                    <a:pt x="0" y="10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3" name="Freeform 42"/>
            <p:cNvSpPr>
              <a:spLocks/>
            </p:cNvSpPr>
            <p:nvPr/>
          </p:nvSpPr>
          <p:spPr bwMode="auto">
            <a:xfrm>
              <a:off x="2497" y="1928"/>
              <a:ext cx="535" cy="695"/>
            </a:xfrm>
            <a:custGeom>
              <a:avLst/>
              <a:gdLst>
                <a:gd name="T0" fmla="*/ 0 w 535"/>
                <a:gd name="T1" fmla="*/ 0 h 695"/>
                <a:gd name="T2" fmla="*/ 115 w 535"/>
                <a:gd name="T3" fmla="*/ 0 h 695"/>
                <a:gd name="T4" fmla="*/ 115 w 535"/>
                <a:gd name="T5" fmla="*/ 453 h 695"/>
                <a:gd name="T6" fmla="*/ 118 w 535"/>
                <a:gd name="T7" fmla="*/ 489 h 695"/>
                <a:gd name="T8" fmla="*/ 130 w 535"/>
                <a:gd name="T9" fmla="*/ 520 h 695"/>
                <a:gd name="T10" fmla="*/ 147 w 535"/>
                <a:gd name="T11" fmla="*/ 546 h 695"/>
                <a:gd name="T12" fmla="*/ 171 w 535"/>
                <a:gd name="T13" fmla="*/ 566 h 695"/>
                <a:gd name="T14" fmla="*/ 200 w 535"/>
                <a:gd name="T15" fmla="*/ 582 h 695"/>
                <a:gd name="T16" fmla="*/ 233 w 535"/>
                <a:gd name="T17" fmla="*/ 590 h 695"/>
                <a:gd name="T18" fmla="*/ 269 w 535"/>
                <a:gd name="T19" fmla="*/ 594 h 695"/>
                <a:gd name="T20" fmla="*/ 304 w 535"/>
                <a:gd name="T21" fmla="*/ 590 h 695"/>
                <a:gd name="T22" fmla="*/ 337 w 535"/>
                <a:gd name="T23" fmla="*/ 582 h 695"/>
                <a:gd name="T24" fmla="*/ 364 w 535"/>
                <a:gd name="T25" fmla="*/ 566 h 695"/>
                <a:gd name="T26" fmla="*/ 388 w 535"/>
                <a:gd name="T27" fmla="*/ 546 h 695"/>
                <a:gd name="T28" fmla="*/ 407 w 535"/>
                <a:gd name="T29" fmla="*/ 520 h 695"/>
                <a:gd name="T30" fmla="*/ 417 w 535"/>
                <a:gd name="T31" fmla="*/ 489 h 695"/>
                <a:gd name="T32" fmla="*/ 422 w 535"/>
                <a:gd name="T33" fmla="*/ 453 h 695"/>
                <a:gd name="T34" fmla="*/ 422 w 535"/>
                <a:gd name="T35" fmla="*/ 0 h 695"/>
                <a:gd name="T36" fmla="*/ 535 w 535"/>
                <a:gd name="T37" fmla="*/ 0 h 695"/>
                <a:gd name="T38" fmla="*/ 535 w 535"/>
                <a:gd name="T39" fmla="*/ 455 h 695"/>
                <a:gd name="T40" fmla="*/ 532 w 535"/>
                <a:gd name="T41" fmla="*/ 499 h 695"/>
                <a:gd name="T42" fmla="*/ 521 w 535"/>
                <a:gd name="T43" fmla="*/ 539 h 695"/>
                <a:gd name="T44" fmla="*/ 504 w 535"/>
                <a:gd name="T45" fmla="*/ 575 h 695"/>
                <a:gd name="T46" fmla="*/ 482 w 535"/>
                <a:gd name="T47" fmla="*/ 606 h 695"/>
                <a:gd name="T48" fmla="*/ 457 w 535"/>
                <a:gd name="T49" fmla="*/ 633 h 695"/>
                <a:gd name="T50" fmla="*/ 426 w 535"/>
                <a:gd name="T51" fmla="*/ 655 h 695"/>
                <a:gd name="T52" fmla="*/ 390 w 535"/>
                <a:gd name="T53" fmla="*/ 672 h 695"/>
                <a:gd name="T54" fmla="*/ 352 w 535"/>
                <a:gd name="T55" fmla="*/ 684 h 695"/>
                <a:gd name="T56" fmla="*/ 311 w 535"/>
                <a:gd name="T57" fmla="*/ 693 h 695"/>
                <a:gd name="T58" fmla="*/ 269 w 535"/>
                <a:gd name="T59" fmla="*/ 695 h 695"/>
                <a:gd name="T60" fmla="*/ 226 w 535"/>
                <a:gd name="T61" fmla="*/ 693 h 695"/>
                <a:gd name="T62" fmla="*/ 185 w 535"/>
                <a:gd name="T63" fmla="*/ 684 h 695"/>
                <a:gd name="T64" fmla="*/ 146 w 535"/>
                <a:gd name="T65" fmla="*/ 672 h 695"/>
                <a:gd name="T66" fmla="*/ 110 w 535"/>
                <a:gd name="T67" fmla="*/ 655 h 695"/>
                <a:gd name="T68" fmla="*/ 79 w 535"/>
                <a:gd name="T69" fmla="*/ 633 h 695"/>
                <a:gd name="T70" fmla="*/ 52 w 535"/>
                <a:gd name="T71" fmla="*/ 606 h 695"/>
                <a:gd name="T72" fmla="*/ 31 w 535"/>
                <a:gd name="T73" fmla="*/ 575 h 695"/>
                <a:gd name="T74" fmla="*/ 14 w 535"/>
                <a:gd name="T75" fmla="*/ 539 h 695"/>
                <a:gd name="T76" fmla="*/ 4 w 535"/>
                <a:gd name="T77" fmla="*/ 499 h 695"/>
                <a:gd name="T78" fmla="*/ 0 w 535"/>
                <a:gd name="T79" fmla="*/ 455 h 695"/>
                <a:gd name="T80" fmla="*/ 0 w 535"/>
                <a:gd name="T81" fmla="*/ 0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695">
                  <a:moveTo>
                    <a:pt x="0" y="0"/>
                  </a:moveTo>
                  <a:lnTo>
                    <a:pt x="115" y="0"/>
                  </a:lnTo>
                  <a:lnTo>
                    <a:pt x="115" y="453"/>
                  </a:lnTo>
                  <a:lnTo>
                    <a:pt x="118" y="489"/>
                  </a:lnTo>
                  <a:lnTo>
                    <a:pt x="130" y="520"/>
                  </a:lnTo>
                  <a:lnTo>
                    <a:pt x="147" y="546"/>
                  </a:lnTo>
                  <a:lnTo>
                    <a:pt x="171" y="566"/>
                  </a:lnTo>
                  <a:lnTo>
                    <a:pt x="200" y="582"/>
                  </a:lnTo>
                  <a:lnTo>
                    <a:pt x="233" y="590"/>
                  </a:lnTo>
                  <a:lnTo>
                    <a:pt x="269" y="594"/>
                  </a:lnTo>
                  <a:lnTo>
                    <a:pt x="304" y="590"/>
                  </a:lnTo>
                  <a:lnTo>
                    <a:pt x="337" y="582"/>
                  </a:lnTo>
                  <a:lnTo>
                    <a:pt x="364" y="566"/>
                  </a:lnTo>
                  <a:lnTo>
                    <a:pt x="388" y="546"/>
                  </a:lnTo>
                  <a:lnTo>
                    <a:pt x="407" y="520"/>
                  </a:lnTo>
                  <a:lnTo>
                    <a:pt x="417" y="489"/>
                  </a:lnTo>
                  <a:lnTo>
                    <a:pt x="422" y="453"/>
                  </a:lnTo>
                  <a:lnTo>
                    <a:pt x="422" y="0"/>
                  </a:lnTo>
                  <a:lnTo>
                    <a:pt x="535" y="0"/>
                  </a:lnTo>
                  <a:lnTo>
                    <a:pt x="535" y="455"/>
                  </a:lnTo>
                  <a:lnTo>
                    <a:pt x="532" y="499"/>
                  </a:lnTo>
                  <a:lnTo>
                    <a:pt x="521" y="539"/>
                  </a:lnTo>
                  <a:lnTo>
                    <a:pt x="504" y="575"/>
                  </a:lnTo>
                  <a:lnTo>
                    <a:pt x="482" y="606"/>
                  </a:lnTo>
                  <a:lnTo>
                    <a:pt x="457" y="633"/>
                  </a:lnTo>
                  <a:lnTo>
                    <a:pt x="426" y="655"/>
                  </a:lnTo>
                  <a:lnTo>
                    <a:pt x="390" y="672"/>
                  </a:lnTo>
                  <a:lnTo>
                    <a:pt x="352" y="684"/>
                  </a:lnTo>
                  <a:lnTo>
                    <a:pt x="311" y="693"/>
                  </a:lnTo>
                  <a:lnTo>
                    <a:pt x="269" y="695"/>
                  </a:lnTo>
                  <a:lnTo>
                    <a:pt x="226" y="693"/>
                  </a:lnTo>
                  <a:lnTo>
                    <a:pt x="185" y="684"/>
                  </a:lnTo>
                  <a:lnTo>
                    <a:pt x="146" y="672"/>
                  </a:lnTo>
                  <a:lnTo>
                    <a:pt x="110" y="655"/>
                  </a:lnTo>
                  <a:lnTo>
                    <a:pt x="79" y="633"/>
                  </a:lnTo>
                  <a:lnTo>
                    <a:pt x="52" y="606"/>
                  </a:lnTo>
                  <a:lnTo>
                    <a:pt x="31" y="575"/>
                  </a:lnTo>
                  <a:lnTo>
                    <a:pt x="14" y="539"/>
                  </a:lnTo>
                  <a:lnTo>
                    <a:pt x="4" y="499"/>
                  </a:lnTo>
                  <a:lnTo>
                    <a:pt x="0" y="45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4" name="Freeform 43"/>
            <p:cNvSpPr>
              <a:spLocks/>
            </p:cNvSpPr>
            <p:nvPr/>
          </p:nvSpPr>
          <p:spPr bwMode="auto">
            <a:xfrm>
              <a:off x="4402" y="2133"/>
              <a:ext cx="552" cy="490"/>
            </a:xfrm>
            <a:custGeom>
              <a:avLst/>
              <a:gdLst>
                <a:gd name="T0" fmla="*/ 339 w 552"/>
                <a:gd name="T1" fmla="*/ 2 h 490"/>
                <a:gd name="T2" fmla="*/ 392 w 552"/>
                <a:gd name="T3" fmla="*/ 15 h 490"/>
                <a:gd name="T4" fmla="*/ 450 w 552"/>
                <a:gd name="T5" fmla="*/ 58 h 490"/>
                <a:gd name="T6" fmla="*/ 484 w 552"/>
                <a:gd name="T7" fmla="*/ 122 h 490"/>
                <a:gd name="T8" fmla="*/ 496 w 552"/>
                <a:gd name="T9" fmla="*/ 204 h 490"/>
                <a:gd name="T10" fmla="*/ 496 w 552"/>
                <a:gd name="T11" fmla="*/ 296 h 490"/>
                <a:gd name="T12" fmla="*/ 498 w 552"/>
                <a:gd name="T13" fmla="*/ 389 h 490"/>
                <a:gd name="T14" fmla="*/ 511 w 552"/>
                <a:gd name="T15" fmla="*/ 411 h 490"/>
                <a:gd name="T16" fmla="*/ 552 w 552"/>
                <a:gd name="T17" fmla="*/ 414 h 490"/>
                <a:gd name="T18" fmla="*/ 521 w 552"/>
                <a:gd name="T19" fmla="*/ 488 h 490"/>
                <a:gd name="T20" fmla="*/ 468 w 552"/>
                <a:gd name="T21" fmla="*/ 490 h 490"/>
                <a:gd name="T22" fmla="*/ 426 w 552"/>
                <a:gd name="T23" fmla="*/ 472 h 490"/>
                <a:gd name="T24" fmla="*/ 398 w 552"/>
                <a:gd name="T25" fmla="*/ 437 h 490"/>
                <a:gd name="T26" fmla="*/ 388 w 552"/>
                <a:gd name="T27" fmla="*/ 375 h 490"/>
                <a:gd name="T28" fmla="*/ 385 w 552"/>
                <a:gd name="T29" fmla="*/ 170 h 490"/>
                <a:gd name="T30" fmla="*/ 357 w 552"/>
                <a:gd name="T31" fmla="*/ 116 h 490"/>
                <a:gd name="T32" fmla="*/ 308 w 552"/>
                <a:gd name="T33" fmla="*/ 89 h 490"/>
                <a:gd name="T34" fmla="*/ 253 w 552"/>
                <a:gd name="T35" fmla="*/ 87 h 490"/>
                <a:gd name="T36" fmla="*/ 210 w 552"/>
                <a:gd name="T37" fmla="*/ 104 h 490"/>
                <a:gd name="T38" fmla="*/ 178 w 552"/>
                <a:gd name="T39" fmla="*/ 139 h 490"/>
                <a:gd name="T40" fmla="*/ 159 w 552"/>
                <a:gd name="T41" fmla="*/ 185 h 490"/>
                <a:gd name="T42" fmla="*/ 158 w 552"/>
                <a:gd name="T43" fmla="*/ 481 h 490"/>
                <a:gd name="T44" fmla="*/ 50 w 552"/>
                <a:gd name="T45" fmla="*/ 146 h 490"/>
                <a:gd name="T46" fmla="*/ 48 w 552"/>
                <a:gd name="T47" fmla="*/ 111 h 490"/>
                <a:gd name="T48" fmla="*/ 46 w 552"/>
                <a:gd name="T49" fmla="*/ 96 h 490"/>
                <a:gd name="T50" fmla="*/ 40 w 552"/>
                <a:gd name="T51" fmla="*/ 87 h 490"/>
                <a:gd name="T52" fmla="*/ 28 w 552"/>
                <a:gd name="T53" fmla="*/ 80 h 490"/>
                <a:gd name="T54" fmla="*/ 0 w 552"/>
                <a:gd name="T55" fmla="*/ 80 h 490"/>
                <a:gd name="T56" fmla="*/ 52 w 552"/>
                <a:gd name="T57" fmla="*/ 0 h 490"/>
                <a:gd name="T58" fmla="*/ 99 w 552"/>
                <a:gd name="T59" fmla="*/ 5 h 490"/>
                <a:gd name="T60" fmla="*/ 134 w 552"/>
                <a:gd name="T61" fmla="*/ 29 h 490"/>
                <a:gd name="T62" fmla="*/ 146 w 552"/>
                <a:gd name="T63" fmla="*/ 60 h 490"/>
                <a:gd name="T64" fmla="*/ 159 w 552"/>
                <a:gd name="T65" fmla="*/ 60 h 490"/>
                <a:gd name="T66" fmla="*/ 193 w 552"/>
                <a:gd name="T67" fmla="*/ 29 h 490"/>
                <a:gd name="T68" fmla="*/ 238 w 552"/>
                <a:gd name="T69" fmla="*/ 9 h 490"/>
                <a:gd name="T70" fmla="*/ 308 w 552"/>
                <a:gd name="T7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2" h="490">
                  <a:moveTo>
                    <a:pt x="308" y="0"/>
                  </a:moveTo>
                  <a:lnTo>
                    <a:pt x="339" y="2"/>
                  </a:lnTo>
                  <a:lnTo>
                    <a:pt x="368" y="7"/>
                  </a:lnTo>
                  <a:lnTo>
                    <a:pt x="392" y="15"/>
                  </a:lnTo>
                  <a:lnTo>
                    <a:pt x="424" y="34"/>
                  </a:lnTo>
                  <a:lnTo>
                    <a:pt x="450" y="58"/>
                  </a:lnTo>
                  <a:lnTo>
                    <a:pt x="470" y="87"/>
                  </a:lnTo>
                  <a:lnTo>
                    <a:pt x="484" y="122"/>
                  </a:lnTo>
                  <a:lnTo>
                    <a:pt x="492" y="161"/>
                  </a:lnTo>
                  <a:lnTo>
                    <a:pt x="496" y="204"/>
                  </a:lnTo>
                  <a:lnTo>
                    <a:pt x="496" y="296"/>
                  </a:lnTo>
                  <a:lnTo>
                    <a:pt x="496" y="296"/>
                  </a:lnTo>
                  <a:lnTo>
                    <a:pt x="496" y="370"/>
                  </a:lnTo>
                  <a:lnTo>
                    <a:pt x="498" y="389"/>
                  </a:lnTo>
                  <a:lnTo>
                    <a:pt x="503" y="402"/>
                  </a:lnTo>
                  <a:lnTo>
                    <a:pt x="511" y="411"/>
                  </a:lnTo>
                  <a:lnTo>
                    <a:pt x="528" y="416"/>
                  </a:lnTo>
                  <a:lnTo>
                    <a:pt x="552" y="414"/>
                  </a:lnTo>
                  <a:lnTo>
                    <a:pt x="552" y="483"/>
                  </a:lnTo>
                  <a:lnTo>
                    <a:pt x="521" y="488"/>
                  </a:lnTo>
                  <a:lnTo>
                    <a:pt x="494" y="490"/>
                  </a:lnTo>
                  <a:lnTo>
                    <a:pt x="468" y="490"/>
                  </a:lnTo>
                  <a:lnTo>
                    <a:pt x="446" y="483"/>
                  </a:lnTo>
                  <a:lnTo>
                    <a:pt x="426" y="472"/>
                  </a:lnTo>
                  <a:lnTo>
                    <a:pt x="410" y="457"/>
                  </a:lnTo>
                  <a:lnTo>
                    <a:pt x="398" y="437"/>
                  </a:lnTo>
                  <a:lnTo>
                    <a:pt x="390" y="409"/>
                  </a:lnTo>
                  <a:lnTo>
                    <a:pt x="388" y="375"/>
                  </a:lnTo>
                  <a:lnTo>
                    <a:pt x="388" y="204"/>
                  </a:lnTo>
                  <a:lnTo>
                    <a:pt x="385" y="170"/>
                  </a:lnTo>
                  <a:lnTo>
                    <a:pt x="375" y="140"/>
                  </a:lnTo>
                  <a:lnTo>
                    <a:pt x="357" y="116"/>
                  </a:lnTo>
                  <a:lnTo>
                    <a:pt x="333" y="99"/>
                  </a:lnTo>
                  <a:lnTo>
                    <a:pt x="308" y="89"/>
                  </a:lnTo>
                  <a:lnTo>
                    <a:pt x="277" y="84"/>
                  </a:lnTo>
                  <a:lnTo>
                    <a:pt x="253" y="87"/>
                  </a:lnTo>
                  <a:lnTo>
                    <a:pt x="231" y="94"/>
                  </a:lnTo>
                  <a:lnTo>
                    <a:pt x="210" y="104"/>
                  </a:lnTo>
                  <a:lnTo>
                    <a:pt x="192" y="120"/>
                  </a:lnTo>
                  <a:lnTo>
                    <a:pt x="178" y="139"/>
                  </a:lnTo>
                  <a:lnTo>
                    <a:pt x="168" y="161"/>
                  </a:lnTo>
                  <a:lnTo>
                    <a:pt x="159" y="185"/>
                  </a:lnTo>
                  <a:lnTo>
                    <a:pt x="158" y="212"/>
                  </a:lnTo>
                  <a:lnTo>
                    <a:pt x="158" y="481"/>
                  </a:lnTo>
                  <a:lnTo>
                    <a:pt x="50" y="481"/>
                  </a:lnTo>
                  <a:lnTo>
                    <a:pt x="50" y="146"/>
                  </a:lnTo>
                  <a:lnTo>
                    <a:pt x="50" y="127"/>
                  </a:lnTo>
                  <a:lnTo>
                    <a:pt x="48" y="111"/>
                  </a:lnTo>
                  <a:lnTo>
                    <a:pt x="48" y="103"/>
                  </a:lnTo>
                  <a:lnTo>
                    <a:pt x="46" y="96"/>
                  </a:lnTo>
                  <a:lnTo>
                    <a:pt x="43" y="91"/>
                  </a:lnTo>
                  <a:lnTo>
                    <a:pt x="40" y="87"/>
                  </a:lnTo>
                  <a:lnTo>
                    <a:pt x="35" y="84"/>
                  </a:lnTo>
                  <a:lnTo>
                    <a:pt x="28" y="80"/>
                  </a:lnTo>
                  <a:lnTo>
                    <a:pt x="16" y="80"/>
                  </a:lnTo>
                  <a:lnTo>
                    <a:pt x="0" y="80"/>
                  </a:lnTo>
                  <a:lnTo>
                    <a:pt x="0" y="7"/>
                  </a:lnTo>
                  <a:lnTo>
                    <a:pt x="52" y="0"/>
                  </a:lnTo>
                  <a:lnTo>
                    <a:pt x="77" y="0"/>
                  </a:lnTo>
                  <a:lnTo>
                    <a:pt x="99" y="5"/>
                  </a:lnTo>
                  <a:lnTo>
                    <a:pt x="118" y="14"/>
                  </a:lnTo>
                  <a:lnTo>
                    <a:pt x="134" y="29"/>
                  </a:lnTo>
                  <a:lnTo>
                    <a:pt x="142" y="43"/>
                  </a:lnTo>
                  <a:lnTo>
                    <a:pt x="146" y="60"/>
                  </a:lnTo>
                  <a:lnTo>
                    <a:pt x="147" y="80"/>
                  </a:lnTo>
                  <a:lnTo>
                    <a:pt x="159" y="60"/>
                  </a:lnTo>
                  <a:lnTo>
                    <a:pt x="175" y="43"/>
                  </a:lnTo>
                  <a:lnTo>
                    <a:pt x="193" y="29"/>
                  </a:lnTo>
                  <a:lnTo>
                    <a:pt x="216" y="17"/>
                  </a:lnTo>
                  <a:lnTo>
                    <a:pt x="238" y="9"/>
                  </a:lnTo>
                  <a:lnTo>
                    <a:pt x="262" y="3"/>
                  </a:lnTo>
                  <a:lnTo>
                    <a:pt x="3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5" name="Freeform 44"/>
            <p:cNvSpPr>
              <a:spLocks/>
            </p:cNvSpPr>
            <p:nvPr/>
          </p:nvSpPr>
          <p:spPr bwMode="auto">
            <a:xfrm>
              <a:off x="4691" y="1156"/>
              <a:ext cx="981" cy="992"/>
            </a:xfrm>
            <a:custGeom>
              <a:avLst/>
              <a:gdLst>
                <a:gd name="T0" fmla="*/ 629 w 981"/>
                <a:gd name="T1" fmla="*/ 22 h 992"/>
                <a:gd name="T2" fmla="*/ 810 w 981"/>
                <a:gd name="T3" fmla="*/ 123 h 992"/>
                <a:gd name="T4" fmla="*/ 935 w 981"/>
                <a:gd name="T5" fmla="*/ 287 h 992"/>
                <a:gd name="T6" fmla="*/ 981 w 981"/>
                <a:gd name="T7" fmla="*/ 496 h 992"/>
                <a:gd name="T8" fmla="*/ 935 w 981"/>
                <a:gd name="T9" fmla="*/ 705 h 992"/>
                <a:gd name="T10" fmla="*/ 810 w 981"/>
                <a:gd name="T11" fmla="*/ 871 h 992"/>
                <a:gd name="T12" fmla="*/ 629 w 981"/>
                <a:gd name="T13" fmla="*/ 972 h 992"/>
                <a:gd name="T14" fmla="*/ 415 w 981"/>
                <a:gd name="T15" fmla="*/ 987 h 992"/>
                <a:gd name="T16" fmla="*/ 222 w 981"/>
                <a:gd name="T17" fmla="*/ 917 h 992"/>
                <a:gd name="T18" fmla="*/ 79 w 981"/>
                <a:gd name="T19" fmla="*/ 779 h 992"/>
                <a:gd name="T20" fmla="*/ 0 w 981"/>
                <a:gd name="T21" fmla="*/ 590 h 992"/>
                <a:gd name="T22" fmla="*/ 121 w 981"/>
                <a:gd name="T23" fmla="*/ 695 h 992"/>
                <a:gd name="T24" fmla="*/ 244 w 981"/>
                <a:gd name="T25" fmla="*/ 835 h 992"/>
                <a:gd name="T26" fmla="*/ 420 w 981"/>
                <a:gd name="T27" fmla="*/ 907 h 992"/>
                <a:gd name="T28" fmla="*/ 605 w 981"/>
                <a:gd name="T29" fmla="*/ 895 h 992"/>
                <a:gd name="T30" fmla="*/ 759 w 981"/>
                <a:gd name="T31" fmla="*/ 809 h 992"/>
                <a:gd name="T32" fmla="*/ 861 w 981"/>
                <a:gd name="T33" fmla="*/ 672 h 992"/>
                <a:gd name="T34" fmla="*/ 900 w 981"/>
                <a:gd name="T35" fmla="*/ 496 h 992"/>
                <a:gd name="T36" fmla="*/ 861 w 981"/>
                <a:gd name="T37" fmla="*/ 321 h 992"/>
                <a:gd name="T38" fmla="*/ 759 w 981"/>
                <a:gd name="T39" fmla="*/ 183 h 992"/>
                <a:gd name="T40" fmla="*/ 605 w 981"/>
                <a:gd name="T41" fmla="*/ 99 h 992"/>
                <a:gd name="T42" fmla="*/ 425 w 981"/>
                <a:gd name="T43" fmla="*/ 85 h 992"/>
                <a:gd name="T44" fmla="*/ 263 w 981"/>
                <a:gd name="T45" fmla="*/ 145 h 992"/>
                <a:gd name="T46" fmla="*/ 142 w 981"/>
                <a:gd name="T47" fmla="*/ 265 h 992"/>
                <a:gd name="T48" fmla="*/ 116 w 981"/>
                <a:gd name="T49" fmla="*/ 320 h 992"/>
                <a:gd name="T50" fmla="*/ 130 w 981"/>
                <a:gd name="T51" fmla="*/ 369 h 992"/>
                <a:gd name="T52" fmla="*/ 261 w 981"/>
                <a:gd name="T53" fmla="*/ 378 h 992"/>
                <a:gd name="T54" fmla="*/ 347 w 981"/>
                <a:gd name="T55" fmla="*/ 378 h 992"/>
                <a:gd name="T56" fmla="*/ 321 w 981"/>
                <a:gd name="T57" fmla="*/ 458 h 992"/>
                <a:gd name="T58" fmla="*/ 289 w 981"/>
                <a:gd name="T59" fmla="*/ 590 h 992"/>
                <a:gd name="T60" fmla="*/ 318 w 981"/>
                <a:gd name="T61" fmla="*/ 618 h 992"/>
                <a:gd name="T62" fmla="*/ 388 w 981"/>
                <a:gd name="T63" fmla="*/ 609 h 992"/>
                <a:gd name="T64" fmla="*/ 415 w 981"/>
                <a:gd name="T65" fmla="*/ 681 h 992"/>
                <a:gd name="T66" fmla="*/ 326 w 981"/>
                <a:gd name="T67" fmla="*/ 700 h 992"/>
                <a:gd name="T68" fmla="*/ 246 w 981"/>
                <a:gd name="T69" fmla="*/ 672 h 992"/>
                <a:gd name="T70" fmla="*/ 207 w 981"/>
                <a:gd name="T71" fmla="*/ 595 h 992"/>
                <a:gd name="T72" fmla="*/ 236 w 981"/>
                <a:gd name="T73" fmla="*/ 458 h 992"/>
                <a:gd name="T74" fmla="*/ 130 w 981"/>
                <a:gd name="T75" fmla="*/ 455 h 992"/>
                <a:gd name="T76" fmla="*/ 62 w 981"/>
                <a:gd name="T77" fmla="*/ 424 h 992"/>
                <a:gd name="T78" fmla="*/ 29 w 981"/>
                <a:gd name="T79" fmla="*/ 347 h 992"/>
                <a:gd name="T80" fmla="*/ 56 w 981"/>
                <a:gd name="T81" fmla="*/ 250 h 992"/>
                <a:gd name="T82" fmla="*/ 181 w 981"/>
                <a:gd name="T83" fmla="*/ 106 h 992"/>
                <a:gd name="T84" fmla="*/ 354 w 981"/>
                <a:gd name="T85" fmla="*/ 1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1" h="992">
                  <a:moveTo>
                    <a:pt x="485" y="0"/>
                  </a:moveTo>
                  <a:lnTo>
                    <a:pt x="559" y="7"/>
                  </a:lnTo>
                  <a:lnTo>
                    <a:pt x="629" y="22"/>
                  </a:lnTo>
                  <a:lnTo>
                    <a:pt x="694" y="46"/>
                  </a:lnTo>
                  <a:lnTo>
                    <a:pt x="755" y="80"/>
                  </a:lnTo>
                  <a:lnTo>
                    <a:pt x="810" y="123"/>
                  </a:lnTo>
                  <a:lnTo>
                    <a:pt x="859" y="171"/>
                  </a:lnTo>
                  <a:lnTo>
                    <a:pt x="900" y="226"/>
                  </a:lnTo>
                  <a:lnTo>
                    <a:pt x="935" y="287"/>
                  </a:lnTo>
                  <a:lnTo>
                    <a:pt x="960" y="354"/>
                  </a:lnTo>
                  <a:lnTo>
                    <a:pt x="976" y="422"/>
                  </a:lnTo>
                  <a:lnTo>
                    <a:pt x="981" y="496"/>
                  </a:lnTo>
                  <a:lnTo>
                    <a:pt x="976" y="570"/>
                  </a:lnTo>
                  <a:lnTo>
                    <a:pt x="960" y="640"/>
                  </a:lnTo>
                  <a:lnTo>
                    <a:pt x="935" y="705"/>
                  </a:lnTo>
                  <a:lnTo>
                    <a:pt x="900" y="767"/>
                  </a:lnTo>
                  <a:lnTo>
                    <a:pt x="859" y="821"/>
                  </a:lnTo>
                  <a:lnTo>
                    <a:pt x="810" y="871"/>
                  </a:lnTo>
                  <a:lnTo>
                    <a:pt x="755" y="912"/>
                  </a:lnTo>
                  <a:lnTo>
                    <a:pt x="694" y="946"/>
                  </a:lnTo>
                  <a:lnTo>
                    <a:pt x="629" y="972"/>
                  </a:lnTo>
                  <a:lnTo>
                    <a:pt x="559" y="987"/>
                  </a:lnTo>
                  <a:lnTo>
                    <a:pt x="485" y="992"/>
                  </a:lnTo>
                  <a:lnTo>
                    <a:pt x="415" y="987"/>
                  </a:lnTo>
                  <a:lnTo>
                    <a:pt x="347" y="972"/>
                  </a:lnTo>
                  <a:lnTo>
                    <a:pt x="282" y="950"/>
                  </a:lnTo>
                  <a:lnTo>
                    <a:pt x="222" y="917"/>
                  </a:lnTo>
                  <a:lnTo>
                    <a:pt x="169" y="878"/>
                  </a:lnTo>
                  <a:lnTo>
                    <a:pt x="120" y="832"/>
                  </a:lnTo>
                  <a:lnTo>
                    <a:pt x="79" y="779"/>
                  </a:lnTo>
                  <a:lnTo>
                    <a:pt x="44" y="720"/>
                  </a:lnTo>
                  <a:lnTo>
                    <a:pt x="17" y="657"/>
                  </a:lnTo>
                  <a:lnTo>
                    <a:pt x="0" y="590"/>
                  </a:lnTo>
                  <a:lnTo>
                    <a:pt x="79" y="575"/>
                  </a:lnTo>
                  <a:lnTo>
                    <a:pt x="96" y="636"/>
                  </a:lnTo>
                  <a:lnTo>
                    <a:pt x="121" y="695"/>
                  </a:lnTo>
                  <a:lnTo>
                    <a:pt x="156" y="748"/>
                  </a:lnTo>
                  <a:lnTo>
                    <a:pt x="197" y="794"/>
                  </a:lnTo>
                  <a:lnTo>
                    <a:pt x="244" y="835"/>
                  </a:lnTo>
                  <a:lnTo>
                    <a:pt x="297" y="868"/>
                  </a:lnTo>
                  <a:lnTo>
                    <a:pt x="357" y="891"/>
                  </a:lnTo>
                  <a:lnTo>
                    <a:pt x="420" y="907"/>
                  </a:lnTo>
                  <a:lnTo>
                    <a:pt x="485" y="912"/>
                  </a:lnTo>
                  <a:lnTo>
                    <a:pt x="547" y="907"/>
                  </a:lnTo>
                  <a:lnTo>
                    <a:pt x="605" y="895"/>
                  </a:lnTo>
                  <a:lnTo>
                    <a:pt x="661" y="873"/>
                  </a:lnTo>
                  <a:lnTo>
                    <a:pt x="711" y="845"/>
                  </a:lnTo>
                  <a:lnTo>
                    <a:pt x="759" y="809"/>
                  </a:lnTo>
                  <a:lnTo>
                    <a:pt x="798" y="770"/>
                  </a:lnTo>
                  <a:lnTo>
                    <a:pt x="834" y="722"/>
                  </a:lnTo>
                  <a:lnTo>
                    <a:pt x="861" y="672"/>
                  </a:lnTo>
                  <a:lnTo>
                    <a:pt x="883" y="616"/>
                  </a:lnTo>
                  <a:lnTo>
                    <a:pt x="895" y="558"/>
                  </a:lnTo>
                  <a:lnTo>
                    <a:pt x="900" y="496"/>
                  </a:lnTo>
                  <a:lnTo>
                    <a:pt x="895" y="434"/>
                  </a:lnTo>
                  <a:lnTo>
                    <a:pt x="883" y="376"/>
                  </a:lnTo>
                  <a:lnTo>
                    <a:pt x="861" y="321"/>
                  </a:lnTo>
                  <a:lnTo>
                    <a:pt x="834" y="270"/>
                  </a:lnTo>
                  <a:lnTo>
                    <a:pt x="798" y="224"/>
                  </a:lnTo>
                  <a:lnTo>
                    <a:pt x="759" y="183"/>
                  </a:lnTo>
                  <a:lnTo>
                    <a:pt x="711" y="149"/>
                  </a:lnTo>
                  <a:lnTo>
                    <a:pt x="661" y="120"/>
                  </a:lnTo>
                  <a:lnTo>
                    <a:pt x="605" y="99"/>
                  </a:lnTo>
                  <a:lnTo>
                    <a:pt x="547" y="85"/>
                  </a:lnTo>
                  <a:lnTo>
                    <a:pt x="485" y="80"/>
                  </a:lnTo>
                  <a:lnTo>
                    <a:pt x="425" y="85"/>
                  </a:lnTo>
                  <a:lnTo>
                    <a:pt x="367" y="97"/>
                  </a:lnTo>
                  <a:lnTo>
                    <a:pt x="314" y="118"/>
                  </a:lnTo>
                  <a:lnTo>
                    <a:pt x="263" y="145"/>
                  </a:lnTo>
                  <a:lnTo>
                    <a:pt x="217" y="179"/>
                  </a:lnTo>
                  <a:lnTo>
                    <a:pt x="176" y="219"/>
                  </a:lnTo>
                  <a:lnTo>
                    <a:pt x="142" y="265"/>
                  </a:lnTo>
                  <a:lnTo>
                    <a:pt x="140" y="267"/>
                  </a:lnTo>
                  <a:lnTo>
                    <a:pt x="127" y="294"/>
                  </a:lnTo>
                  <a:lnTo>
                    <a:pt x="116" y="320"/>
                  </a:lnTo>
                  <a:lnTo>
                    <a:pt x="115" y="340"/>
                  </a:lnTo>
                  <a:lnTo>
                    <a:pt x="118" y="357"/>
                  </a:lnTo>
                  <a:lnTo>
                    <a:pt x="130" y="369"/>
                  </a:lnTo>
                  <a:lnTo>
                    <a:pt x="149" y="376"/>
                  </a:lnTo>
                  <a:lnTo>
                    <a:pt x="173" y="378"/>
                  </a:lnTo>
                  <a:lnTo>
                    <a:pt x="261" y="378"/>
                  </a:lnTo>
                  <a:lnTo>
                    <a:pt x="304" y="246"/>
                  </a:lnTo>
                  <a:lnTo>
                    <a:pt x="390" y="246"/>
                  </a:lnTo>
                  <a:lnTo>
                    <a:pt x="347" y="378"/>
                  </a:lnTo>
                  <a:lnTo>
                    <a:pt x="444" y="378"/>
                  </a:lnTo>
                  <a:lnTo>
                    <a:pt x="419" y="458"/>
                  </a:lnTo>
                  <a:lnTo>
                    <a:pt x="321" y="458"/>
                  </a:lnTo>
                  <a:lnTo>
                    <a:pt x="289" y="556"/>
                  </a:lnTo>
                  <a:lnTo>
                    <a:pt x="287" y="575"/>
                  </a:lnTo>
                  <a:lnTo>
                    <a:pt x="289" y="590"/>
                  </a:lnTo>
                  <a:lnTo>
                    <a:pt x="294" y="604"/>
                  </a:lnTo>
                  <a:lnTo>
                    <a:pt x="304" y="612"/>
                  </a:lnTo>
                  <a:lnTo>
                    <a:pt x="318" y="618"/>
                  </a:lnTo>
                  <a:lnTo>
                    <a:pt x="330" y="619"/>
                  </a:lnTo>
                  <a:lnTo>
                    <a:pt x="359" y="618"/>
                  </a:lnTo>
                  <a:lnTo>
                    <a:pt x="388" y="609"/>
                  </a:lnTo>
                  <a:lnTo>
                    <a:pt x="396" y="647"/>
                  </a:lnTo>
                  <a:lnTo>
                    <a:pt x="405" y="664"/>
                  </a:lnTo>
                  <a:lnTo>
                    <a:pt x="415" y="681"/>
                  </a:lnTo>
                  <a:lnTo>
                    <a:pt x="386" y="691"/>
                  </a:lnTo>
                  <a:lnTo>
                    <a:pt x="357" y="698"/>
                  </a:lnTo>
                  <a:lnTo>
                    <a:pt x="326" y="700"/>
                  </a:lnTo>
                  <a:lnTo>
                    <a:pt x="297" y="696"/>
                  </a:lnTo>
                  <a:lnTo>
                    <a:pt x="270" y="688"/>
                  </a:lnTo>
                  <a:lnTo>
                    <a:pt x="246" y="672"/>
                  </a:lnTo>
                  <a:lnTo>
                    <a:pt x="227" y="652"/>
                  </a:lnTo>
                  <a:lnTo>
                    <a:pt x="214" y="626"/>
                  </a:lnTo>
                  <a:lnTo>
                    <a:pt x="207" y="595"/>
                  </a:lnTo>
                  <a:lnTo>
                    <a:pt x="205" y="563"/>
                  </a:lnTo>
                  <a:lnTo>
                    <a:pt x="214" y="530"/>
                  </a:lnTo>
                  <a:lnTo>
                    <a:pt x="236" y="458"/>
                  </a:lnTo>
                  <a:lnTo>
                    <a:pt x="173" y="458"/>
                  </a:lnTo>
                  <a:lnTo>
                    <a:pt x="154" y="458"/>
                  </a:lnTo>
                  <a:lnTo>
                    <a:pt x="130" y="455"/>
                  </a:lnTo>
                  <a:lnTo>
                    <a:pt x="106" y="450"/>
                  </a:lnTo>
                  <a:lnTo>
                    <a:pt x="84" y="440"/>
                  </a:lnTo>
                  <a:lnTo>
                    <a:pt x="62" y="424"/>
                  </a:lnTo>
                  <a:lnTo>
                    <a:pt x="46" y="402"/>
                  </a:lnTo>
                  <a:lnTo>
                    <a:pt x="34" y="376"/>
                  </a:lnTo>
                  <a:lnTo>
                    <a:pt x="29" y="347"/>
                  </a:lnTo>
                  <a:lnTo>
                    <a:pt x="33" y="316"/>
                  </a:lnTo>
                  <a:lnTo>
                    <a:pt x="41" y="284"/>
                  </a:lnTo>
                  <a:lnTo>
                    <a:pt x="56" y="250"/>
                  </a:lnTo>
                  <a:lnTo>
                    <a:pt x="92" y="197"/>
                  </a:lnTo>
                  <a:lnTo>
                    <a:pt x="133" y="147"/>
                  </a:lnTo>
                  <a:lnTo>
                    <a:pt x="181" y="106"/>
                  </a:lnTo>
                  <a:lnTo>
                    <a:pt x="234" y="70"/>
                  </a:lnTo>
                  <a:lnTo>
                    <a:pt x="292" y="41"/>
                  </a:lnTo>
                  <a:lnTo>
                    <a:pt x="354" y="19"/>
                  </a:lnTo>
                  <a:lnTo>
                    <a:pt x="419" y="5"/>
                  </a:lnTo>
                  <a:lnTo>
                    <a:pt x="4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6" name="Freeform 45"/>
            <p:cNvSpPr>
              <a:spLocks/>
            </p:cNvSpPr>
            <p:nvPr/>
          </p:nvSpPr>
          <p:spPr bwMode="auto">
            <a:xfrm>
              <a:off x="5125" y="1534"/>
              <a:ext cx="396" cy="322"/>
            </a:xfrm>
            <a:custGeom>
              <a:avLst/>
              <a:gdLst>
                <a:gd name="T0" fmla="*/ 58 w 396"/>
                <a:gd name="T1" fmla="*/ 0 h 322"/>
                <a:gd name="T2" fmla="*/ 144 w 396"/>
                <a:gd name="T3" fmla="*/ 0 h 322"/>
                <a:gd name="T4" fmla="*/ 82 w 396"/>
                <a:gd name="T5" fmla="*/ 190 h 322"/>
                <a:gd name="T6" fmla="*/ 80 w 396"/>
                <a:gd name="T7" fmla="*/ 205 h 322"/>
                <a:gd name="T8" fmla="*/ 82 w 396"/>
                <a:gd name="T9" fmla="*/ 219 h 322"/>
                <a:gd name="T10" fmla="*/ 87 w 396"/>
                <a:gd name="T11" fmla="*/ 228 h 322"/>
                <a:gd name="T12" fmla="*/ 96 w 396"/>
                <a:gd name="T13" fmla="*/ 234 h 322"/>
                <a:gd name="T14" fmla="*/ 106 w 396"/>
                <a:gd name="T15" fmla="*/ 240 h 322"/>
                <a:gd name="T16" fmla="*/ 116 w 396"/>
                <a:gd name="T17" fmla="*/ 241 h 322"/>
                <a:gd name="T18" fmla="*/ 140 w 396"/>
                <a:gd name="T19" fmla="*/ 238 h 322"/>
                <a:gd name="T20" fmla="*/ 164 w 396"/>
                <a:gd name="T21" fmla="*/ 226 h 322"/>
                <a:gd name="T22" fmla="*/ 186 w 396"/>
                <a:gd name="T23" fmla="*/ 211 h 322"/>
                <a:gd name="T24" fmla="*/ 203 w 396"/>
                <a:gd name="T25" fmla="*/ 188 h 322"/>
                <a:gd name="T26" fmla="*/ 215 w 396"/>
                <a:gd name="T27" fmla="*/ 164 h 322"/>
                <a:gd name="T28" fmla="*/ 215 w 396"/>
                <a:gd name="T29" fmla="*/ 164 h 322"/>
                <a:gd name="T30" fmla="*/ 268 w 396"/>
                <a:gd name="T31" fmla="*/ 0 h 322"/>
                <a:gd name="T32" fmla="*/ 352 w 396"/>
                <a:gd name="T33" fmla="*/ 0 h 322"/>
                <a:gd name="T34" fmla="*/ 292 w 396"/>
                <a:gd name="T35" fmla="*/ 190 h 322"/>
                <a:gd name="T36" fmla="*/ 289 w 396"/>
                <a:gd name="T37" fmla="*/ 199 h 322"/>
                <a:gd name="T38" fmla="*/ 289 w 396"/>
                <a:gd name="T39" fmla="*/ 205 h 322"/>
                <a:gd name="T40" fmla="*/ 289 w 396"/>
                <a:gd name="T41" fmla="*/ 212 h 322"/>
                <a:gd name="T42" fmla="*/ 289 w 396"/>
                <a:gd name="T43" fmla="*/ 212 h 322"/>
                <a:gd name="T44" fmla="*/ 289 w 396"/>
                <a:gd name="T45" fmla="*/ 214 h 322"/>
                <a:gd name="T46" fmla="*/ 290 w 396"/>
                <a:gd name="T47" fmla="*/ 221 h 322"/>
                <a:gd name="T48" fmla="*/ 294 w 396"/>
                <a:gd name="T49" fmla="*/ 226 h 322"/>
                <a:gd name="T50" fmla="*/ 297 w 396"/>
                <a:gd name="T51" fmla="*/ 231 h 322"/>
                <a:gd name="T52" fmla="*/ 302 w 396"/>
                <a:gd name="T53" fmla="*/ 236 h 322"/>
                <a:gd name="T54" fmla="*/ 306 w 396"/>
                <a:gd name="T55" fmla="*/ 238 h 322"/>
                <a:gd name="T56" fmla="*/ 325 w 396"/>
                <a:gd name="T57" fmla="*/ 248 h 322"/>
                <a:gd name="T58" fmla="*/ 345 w 396"/>
                <a:gd name="T59" fmla="*/ 252 h 322"/>
                <a:gd name="T60" fmla="*/ 367 w 396"/>
                <a:gd name="T61" fmla="*/ 253 h 322"/>
                <a:gd name="T62" fmla="*/ 384 w 396"/>
                <a:gd name="T63" fmla="*/ 252 h 322"/>
                <a:gd name="T64" fmla="*/ 396 w 396"/>
                <a:gd name="T65" fmla="*/ 250 h 322"/>
                <a:gd name="T66" fmla="*/ 393 w 396"/>
                <a:gd name="T67" fmla="*/ 262 h 322"/>
                <a:gd name="T68" fmla="*/ 384 w 396"/>
                <a:gd name="T69" fmla="*/ 279 h 322"/>
                <a:gd name="T70" fmla="*/ 378 w 396"/>
                <a:gd name="T71" fmla="*/ 294 h 322"/>
                <a:gd name="T72" fmla="*/ 367 w 396"/>
                <a:gd name="T73" fmla="*/ 310 h 322"/>
                <a:gd name="T74" fmla="*/ 362 w 396"/>
                <a:gd name="T75" fmla="*/ 318 h 322"/>
                <a:gd name="T76" fmla="*/ 359 w 396"/>
                <a:gd name="T77" fmla="*/ 320 h 322"/>
                <a:gd name="T78" fmla="*/ 354 w 396"/>
                <a:gd name="T79" fmla="*/ 320 h 322"/>
                <a:gd name="T80" fmla="*/ 347 w 396"/>
                <a:gd name="T81" fmla="*/ 322 h 322"/>
                <a:gd name="T82" fmla="*/ 340 w 396"/>
                <a:gd name="T83" fmla="*/ 322 h 322"/>
                <a:gd name="T84" fmla="*/ 321 w 396"/>
                <a:gd name="T85" fmla="*/ 322 h 322"/>
                <a:gd name="T86" fmla="*/ 299 w 396"/>
                <a:gd name="T87" fmla="*/ 318 h 322"/>
                <a:gd name="T88" fmla="*/ 275 w 396"/>
                <a:gd name="T89" fmla="*/ 313 h 322"/>
                <a:gd name="T90" fmla="*/ 258 w 396"/>
                <a:gd name="T91" fmla="*/ 305 h 322"/>
                <a:gd name="T92" fmla="*/ 243 w 396"/>
                <a:gd name="T93" fmla="*/ 293 h 322"/>
                <a:gd name="T94" fmla="*/ 229 w 396"/>
                <a:gd name="T95" fmla="*/ 277 h 322"/>
                <a:gd name="T96" fmla="*/ 193 w 396"/>
                <a:gd name="T97" fmla="*/ 301 h 322"/>
                <a:gd name="T98" fmla="*/ 154 w 396"/>
                <a:gd name="T99" fmla="*/ 317 h 322"/>
                <a:gd name="T100" fmla="*/ 115 w 396"/>
                <a:gd name="T101" fmla="*/ 322 h 322"/>
                <a:gd name="T102" fmla="*/ 85 w 396"/>
                <a:gd name="T103" fmla="*/ 318 h 322"/>
                <a:gd name="T104" fmla="*/ 60 w 396"/>
                <a:gd name="T105" fmla="*/ 310 h 322"/>
                <a:gd name="T106" fmla="*/ 38 w 396"/>
                <a:gd name="T107" fmla="*/ 296 h 322"/>
                <a:gd name="T108" fmla="*/ 19 w 396"/>
                <a:gd name="T109" fmla="*/ 277 h 322"/>
                <a:gd name="T110" fmla="*/ 7 w 396"/>
                <a:gd name="T111" fmla="*/ 252 h 322"/>
                <a:gd name="T112" fmla="*/ 0 w 396"/>
                <a:gd name="T113" fmla="*/ 224 h 322"/>
                <a:gd name="T114" fmla="*/ 0 w 396"/>
                <a:gd name="T115" fmla="*/ 193 h 322"/>
                <a:gd name="T116" fmla="*/ 7 w 396"/>
                <a:gd name="T117" fmla="*/ 164 h 322"/>
                <a:gd name="T118" fmla="*/ 58 w 396"/>
                <a:gd name="T11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 h="322">
                  <a:moveTo>
                    <a:pt x="58" y="0"/>
                  </a:moveTo>
                  <a:lnTo>
                    <a:pt x="144" y="0"/>
                  </a:lnTo>
                  <a:lnTo>
                    <a:pt x="82" y="190"/>
                  </a:lnTo>
                  <a:lnTo>
                    <a:pt x="80" y="205"/>
                  </a:lnTo>
                  <a:lnTo>
                    <a:pt x="82" y="219"/>
                  </a:lnTo>
                  <a:lnTo>
                    <a:pt x="87" y="228"/>
                  </a:lnTo>
                  <a:lnTo>
                    <a:pt x="96" y="234"/>
                  </a:lnTo>
                  <a:lnTo>
                    <a:pt x="106" y="240"/>
                  </a:lnTo>
                  <a:lnTo>
                    <a:pt x="116" y="241"/>
                  </a:lnTo>
                  <a:lnTo>
                    <a:pt x="140" y="238"/>
                  </a:lnTo>
                  <a:lnTo>
                    <a:pt x="164" y="226"/>
                  </a:lnTo>
                  <a:lnTo>
                    <a:pt x="186" y="211"/>
                  </a:lnTo>
                  <a:lnTo>
                    <a:pt x="203" y="188"/>
                  </a:lnTo>
                  <a:lnTo>
                    <a:pt x="215" y="164"/>
                  </a:lnTo>
                  <a:lnTo>
                    <a:pt x="215" y="164"/>
                  </a:lnTo>
                  <a:lnTo>
                    <a:pt x="268" y="0"/>
                  </a:lnTo>
                  <a:lnTo>
                    <a:pt x="352" y="0"/>
                  </a:lnTo>
                  <a:lnTo>
                    <a:pt x="292" y="190"/>
                  </a:lnTo>
                  <a:lnTo>
                    <a:pt x="289" y="199"/>
                  </a:lnTo>
                  <a:lnTo>
                    <a:pt x="289" y="205"/>
                  </a:lnTo>
                  <a:lnTo>
                    <a:pt x="289" y="212"/>
                  </a:lnTo>
                  <a:lnTo>
                    <a:pt x="289" y="212"/>
                  </a:lnTo>
                  <a:lnTo>
                    <a:pt x="289" y="214"/>
                  </a:lnTo>
                  <a:lnTo>
                    <a:pt x="290" y="221"/>
                  </a:lnTo>
                  <a:lnTo>
                    <a:pt x="294" y="226"/>
                  </a:lnTo>
                  <a:lnTo>
                    <a:pt x="297" y="231"/>
                  </a:lnTo>
                  <a:lnTo>
                    <a:pt x="302" y="236"/>
                  </a:lnTo>
                  <a:lnTo>
                    <a:pt x="306" y="238"/>
                  </a:lnTo>
                  <a:lnTo>
                    <a:pt x="325" y="248"/>
                  </a:lnTo>
                  <a:lnTo>
                    <a:pt x="345" y="252"/>
                  </a:lnTo>
                  <a:lnTo>
                    <a:pt x="367" y="253"/>
                  </a:lnTo>
                  <a:lnTo>
                    <a:pt x="384" y="252"/>
                  </a:lnTo>
                  <a:lnTo>
                    <a:pt x="396" y="250"/>
                  </a:lnTo>
                  <a:lnTo>
                    <a:pt x="393" y="262"/>
                  </a:lnTo>
                  <a:lnTo>
                    <a:pt x="384" y="279"/>
                  </a:lnTo>
                  <a:lnTo>
                    <a:pt x="378" y="294"/>
                  </a:lnTo>
                  <a:lnTo>
                    <a:pt x="367" y="310"/>
                  </a:lnTo>
                  <a:lnTo>
                    <a:pt x="362" y="318"/>
                  </a:lnTo>
                  <a:lnTo>
                    <a:pt x="359" y="320"/>
                  </a:lnTo>
                  <a:lnTo>
                    <a:pt x="354" y="320"/>
                  </a:lnTo>
                  <a:lnTo>
                    <a:pt x="347" y="322"/>
                  </a:lnTo>
                  <a:lnTo>
                    <a:pt x="340" y="322"/>
                  </a:lnTo>
                  <a:lnTo>
                    <a:pt x="321" y="322"/>
                  </a:lnTo>
                  <a:lnTo>
                    <a:pt x="299" y="318"/>
                  </a:lnTo>
                  <a:lnTo>
                    <a:pt x="275" y="313"/>
                  </a:lnTo>
                  <a:lnTo>
                    <a:pt x="258" y="305"/>
                  </a:lnTo>
                  <a:lnTo>
                    <a:pt x="243" y="293"/>
                  </a:lnTo>
                  <a:lnTo>
                    <a:pt x="229" y="277"/>
                  </a:lnTo>
                  <a:lnTo>
                    <a:pt x="193" y="301"/>
                  </a:lnTo>
                  <a:lnTo>
                    <a:pt x="154" y="317"/>
                  </a:lnTo>
                  <a:lnTo>
                    <a:pt x="115" y="322"/>
                  </a:lnTo>
                  <a:lnTo>
                    <a:pt x="85" y="318"/>
                  </a:lnTo>
                  <a:lnTo>
                    <a:pt x="60" y="310"/>
                  </a:lnTo>
                  <a:lnTo>
                    <a:pt x="38" y="296"/>
                  </a:lnTo>
                  <a:lnTo>
                    <a:pt x="19" y="277"/>
                  </a:lnTo>
                  <a:lnTo>
                    <a:pt x="7" y="252"/>
                  </a:lnTo>
                  <a:lnTo>
                    <a:pt x="0" y="224"/>
                  </a:lnTo>
                  <a:lnTo>
                    <a:pt x="0" y="193"/>
                  </a:lnTo>
                  <a:lnTo>
                    <a:pt x="7" y="164"/>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sp>
          <p:nvSpPr>
            <p:cNvPr id="47" name="Freeform 46"/>
            <p:cNvSpPr>
              <a:spLocks noEditPoints="1"/>
            </p:cNvSpPr>
            <p:nvPr/>
          </p:nvSpPr>
          <p:spPr bwMode="auto">
            <a:xfrm>
              <a:off x="5007" y="2496"/>
              <a:ext cx="127" cy="127"/>
            </a:xfrm>
            <a:custGeom>
              <a:avLst/>
              <a:gdLst>
                <a:gd name="T0" fmla="*/ 53 w 127"/>
                <a:gd name="T1" fmla="*/ 65 h 127"/>
                <a:gd name="T2" fmla="*/ 74 w 127"/>
                <a:gd name="T3" fmla="*/ 63 h 127"/>
                <a:gd name="T4" fmla="*/ 80 w 127"/>
                <a:gd name="T5" fmla="*/ 58 h 127"/>
                <a:gd name="T6" fmla="*/ 80 w 127"/>
                <a:gd name="T7" fmla="*/ 48 h 127"/>
                <a:gd name="T8" fmla="*/ 74 w 127"/>
                <a:gd name="T9" fmla="*/ 41 h 127"/>
                <a:gd name="T10" fmla="*/ 53 w 127"/>
                <a:gd name="T11" fmla="*/ 41 h 127"/>
                <a:gd name="T12" fmla="*/ 68 w 127"/>
                <a:gd name="T13" fmla="*/ 32 h 127"/>
                <a:gd name="T14" fmla="*/ 79 w 127"/>
                <a:gd name="T15" fmla="*/ 34 h 127"/>
                <a:gd name="T16" fmla="*/ 87 w 127"/>
                <a:gd name="T17" fmla="*/ 41 h 127"/>
                <a:gd name="T18" fmla="*/ 91 w 127"/>
                <a:gd name="T19" fmla="*/ 53 h 127"/>
                <a:gd name="T20" fmla="*/ 86 w 127"/>
                <a:gd name="T21" fmla="*/ 65 h 127"/>
                <a:gd name="T22" fmla="*/ 75 w 127"/>
                <a:gd name="T23" fmla="*/ 72 h 127"/>
                <a:gd name="T24" fmla="*/ 92 w 127"/>
                <a:gd name="T25" fmla="*/ 94 h 127"/>
                <a:gd name="T26" fmla="*/ 67 w 127"/>
                <a:gd name="T27" fmla="*/ 72 h 127"/>
                <a:gd name="T28" fmla="*/ 53 w 127"/>
                <a:gd name="T29" fmla="*/ 94 h 127"/>
                <a:gd name="T30" fmla="*/ 43 w 127"/>
                <a:gd name="T31" fmla="*/ 32 h 127"/>
                <a:gd name="T32" fmla="*/ 39 w 127"/>
                <a:gd name="T33" fmla="*/ 15 h 127"/>
                <a:gd name="T34" fmla="*/ 16 w 127"/>
                <a:gd name="T35" fmla="*/ 41 h 127"/>
                <a:gd name="T36" fmla="*/ 16 w 127"/>
                <a:gd name="T37" fmla="*/ 84 h 127"/>
                <a:gd name="T38" fmla="*/ 39 w 127"/>
                <a:gd name="T39" fmla="*/ 111 h 127"/>
                <a:gd name="T40" fmla="*/ 72 w 127"/>
                <a:gd name="T41" fmla="*/ 116 h 127"/>
                <a:gd name="T42" fmla="*/ 103 w 127"/>
                <a:gd name="T43" fmla="*/ 101 h 127"/>
                <a:gd name="T44" fmla="*/ 116 w 127"/>
                <a:gd name="T45" fmla="*/ 63 h 127"/>
                <a:gd name="T46" fmla="*/ 103 w 127"/>
                <a:gd name="T47" fmla="*/ 26 h 127"/>
                <a:gd name="T48" fmla="*/ 72 w 127"/>
                <a:gd name="T49" fmla="*/ 10 h 127"/>
                <a:gd name="T50" fmla="*/ 63 w 127"/>
                <a:gd name="T51" fmla="*/ 0 h 127"/>
                <a:gd name="T52" fmla="*/ 99 w 127"/>
                <a:gd name="T53" fmla="*/ 10 h 127"/>
                <a:gd name="T54" fmla="*/ 123 w 127"/>
                <a:gd name="T55" fmla="*/ 41 h 127"/>
                <a:gd name="T56" fmla="*/ 123 w 127"/>
                <a:gd name="T57" fmla="*/ 85 h 127"/>
                <a:gd name="T58" fmla="*/ 99 w 127"/>
                <a:gd name="T59" fmla="*/ 116 h 127"/>
                <a:gd name="T60" fmla="*/ 63 w 127"/>
                <a:gd name="T61" fmla="*/ 127 h 127"/>
                <a:gd name="T62" fmla="*/ 27 w 127"/>
                <a:gd name="T63" fmla="*/ 116 h 127"/>
                <a:gd name="T64" fmla="*/ 4 w 127"/>
                <a:gd name="T65" fmla="*/ 85 h 127"/>
                <a:gd name="T66" fmla="*/ 4 w 127"/>
                <a:gd name="T67" fmla="*/ 41 h 127"/>
                <a:gd name="T68" fmla="*/ 27 w 127"/>
                <a:gd name="T69" fmla="*/ 10 h 127"/>
                <a:gd name="T70" fmla="*/ 63 w 127"/>
                <a:gd name="T7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27">
                  <a:moveTo>
                    <a:pt x="53" y="41"/>
                  </a:moveTo>
                  <a:lnTo>
                    <a:pt x="53" y="65"/>
                  </a:lnTo>
                  <a:lnTo>
                    <a:pt x="68" y="65"/>
                  </a:lnTo>
                  <a:lnTo>
                    <a:pt x="74" y="63"/>
                  </a:lnTo>
                  <a:lnTo>
                    <a:pt x="77" y="62"/>
                  </a:lnTo>
                  <a:lnTo>
                    <a:pt x="80" y="58"/>
                  </a:lnTo>
                  <a:lnTo>
                    <a:pt x="80" y="53"/>
                  </a:lnTo>
                  <a:lnTo>
                    <a:pt x="80" y="48"/>
                  </a:lnTo>
                  <a:lnTo>
                    <a:pt x="77" y="44"/>
                  </a:lnTo>
                  <a:lnTo>
                    <a:pt x="74" y="41"/>
                  </a:lnTo>
                  <a:lnTo>
                    <a:pt x="68" y="41"/>
                  </a:lnTo>
                  <a:lnTo>
                    <a:pt x="53" y="41"/>
                  </a:lnTo>
                  <a:close/>
                  <a:moveTo>
                    <a:pt x="43" y="32"/>
                  </a:moveTo>
                  <a:lnTo>
                    <a:pt x="68" y="32"/>
                  </a:lnTo>
                  <a:lnTo>
                    <a:pt x="74" y="32"/>
                  </a:lnTo>
                  <a:lnTo>
                    <a:pt x="79" y="34"/>
                  </a:lnTo>
                  <a:lnTo>
                    <a:pt x="84" y="38"/>
                  </a:lnTo>
                  <a:lnTo>
                    <a:pt x="87" y="41"/>
                  </a:lnTo>
                  <a:lnTo>
                    <a:pt x="89" y="46"/>
                  </a:lnTo>
                  <a:lnTo>
                    <a:pt x="91" y="53"/>
                  </a:lnTo>
                  <a:lnTo>
                    <a:pt x="89" y="60"/>
                  </a:lnTo>
                  <a:lnTo>
                    <a:pt x="86" y="65"/>
                  </a:lnTo>
                  <a:lnTo>
                    <a:pt x="82" y="68"/>
                  </a:lnTo>
                  <a:lnTo>
                    <a:pt x="75" y="72"/>
                  </a:lnTo>
                  <a:lnTo>
                    <a:pt x="92" y="92"/>
                  </a:lnTo>
                  <a:lnTo>
                    <a:pt x="92" y="94"/>
                  </a:lnTo>
                  <a:lnTo>
                    <a:pt x="82" y="94"/>
                  </a:lnTo>
                  <a:lnTo>
                    <a:pt x="67" y="72"/>
                  </a:lnTo>
                  <a:lnTo>
                    <a:pt x="53" y="72"/>
                  </a:lnTo>
                  <a:lnTo>
                    <a:pt x="53" y="94"/>
                  </a:lnTo>
                  <a:lnTo>
                    <a:pt x="43" y="94"/>
                  </a:lnTo>
                  <a:lnTo>
                    <a:pt x="43" y="32"/>
                  </a:lnTo>
                  <a:close/>
                  <a:moveTo>
                    <a:pt x="55" y="10"/>
                  </a:moveTo>
                  <a:lnTo>
                    <a:pt x="39" y="15"/>
                  </a:lnTo>
                  <a:lnTo>
                    <a:pt x="24" y="26"/>
                  </a:lnTo>
                  <a:lnTo>
                    <a:pt x="16" y="41"/>
                  </a:lnTo>
                  <a:lnTo>
                    <a:pt x="12" y="63"/>
                  </a:lnTo>
                  <a:lnTo>
                    <a:pt x="16" y="84"/>
                  </a:lnTo>
                  <a:lnTo>
                    <a:pt x="24" y="101"/>
                  </a:lnTo>
                  <a:lnTo>
                    <a:pt x="39" y="111"/>
                  </a:lnTo>
                  <a:lnTo>
                    <a:pt x="55" y="116"/>
                  </a:lnTo>
                  <a:lnTo>
                    <a:pt x="72" y="116"/>
                  </a:lnTo>
                  <a:lnTo>
                    <a:pt x="89" y="111"/>
                  </a:lnTo>
                  <a:lnTo>
                    <a:pt x="103" y="101"/>
                  </a:lnTo>
                  <a:lnTo>
                    <a:pt x="113" y="84"/>
                  </a:lnTo>
                  <a:lnTo>
                    <a:pt x="116" y="63"/>
                  </a:lnTo>
                  <a:lnTo>
                    <a:pt x="113" y="41"/>
                  </a:lnTo>
                  <a:lnTo>
                    <a:pt x="103" y="26"/>
                  </a:lnTo>
                  <a:lnTo>
                    <a:pt x="89" y="15"/>
                  </a:lnTo>
                  <a:lnTo>
                    <a:pt x="72" y="10"/>
                  </a:lnTo>
                  <a:lnTo>
                    <a:pt x="55" y="10"/>
                  </a:lnTo>
                  <a:close/>
                  <a:moveTo>
                    <a:pt x="63" y="0"/>
                  </a:moveTo>
                  <a:lnTo>
                    <a:pt x="82" y="2"/>
                  </a:lnTo>
                  <a:lnTo>
                    <a:pt x="99" y="10"/>
                  </a:lnTo>
                  <a:lnTo>
                    <a:pt x="115" y="22"/>
                  </a:lnTo>
                  <a:lnTo>
                    <a:pt x="123" y="41"/>
                  </a:lnTo>
                  <a:lnTo>
                    <a:pt x="127" y="63"/>
                  </a:lnTo>
                  <a:lnTo>
                    <a:pt x="123" y="85"/>
                  </a:lnTo>
                  <a:lnTo>
                    <a:pt x="115" y="104"/>
                  </a:lnTo>
                  <a:lnTo>
                    <a:pt x="99" y="116"/>
                  </a:lnTo>
                  <a:lnTo>
                    <a:pt x="82" y="125"/>
                  </a:lnTo>
                  <a:lnTo>
                    <a:pt x="63" y="127"/>
                  </a:lnTo>
                  <a:lnTo>
                    <a:pt x="45" y="125"/>
                  </a:lnTo>
                  <a:lnTo>
                    <a:pt x="27" y="116"/>
                  </a:lnTo>
                  <a:lnTo>
                    <a:pt x="14" y="104"/>
                  </a:lnTo>
                  <a:lnTo>
                    <a:pt x="4" y="85"/>
                  </a:lnTo>
                  <a:lnTo>
                    <a:pt x="0" y="63"/>
                  </a:lnTo>
                  <a:lnTo>
                    <a:pt x="4" y="41"/>
                  </a:lnTo>
                  <a:lnTo>
                    <a:pt x="14" y="22"/>
                  </a:lnTo>
                  <a:lnTo>
                    <a:pt x="27" y="10"/>
                  </a:lnTo>
                  <a:lnTo>
                    <a:pt x="45"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kern="1200"/>
            </a:p>
          </p:txBody>
        </p:sp>
      </p:grpSp>
    </p:spTree>
    <p:extLst>
      <p:ext uri="{BB962C8B-B14F-4D97-AF65-F5344CB8AC3E}">
        <p14:creationId xmlns:p14="http://schemas.microsoft.com/office/powerpoint/2010/main" val="872064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1" presetClass="entr" presetSubtype="1"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heel(1)">
                                      <p:cBhvr>
                                        <p:cTn id="15" dur="250"/>
                                        <p:tgtEl>
                                          <p:spTgt spid="19"/>
                                        </p:tgtEl>
                                      </p:cBhvr>
                                    </p:animEffect>
                                  </p:childTnLst>
                                </p:cTn>
                              </p:par>
                              <p:par>
                                <p:cTn id="16" presetID="21" presetClass="entr" presetSubtype="1"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heel(1)">
                                      <p:cBhvr>
                                        <p:cTn id="18" dur="250"/>
                                        <p:tgtEl>
                                          <p:spTgt spid="20"/>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Graphic spid="20" grpId="0">
        <p:bldAsOne/>
      </p:bldGraphic>
      <p:bldP spid="21" grpId="0"/>
      <p:bldP spid="23" grpId="0"/>
      <p:bldP spid="32" grpId="0" animBg="1"/>
      <p:bldP spid="34" grpId="0" animBg="1"/>
      <p:bldP spid="36" grpId="0" animBg="1"/>
      <p:bldP spid="22" grpId="0"/>
      <p:bldP spid="2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F5F223-A877-2687-DCE3-9E0AFAFC2215}"/>
              </a:ext>
            </a:extLst>
          </p:cNvPr>
          <p:cNvPicPr>
            <a:picLocks noChangeAspect="1"/>
          </p:cNvPicPr>
          <p:nvPr/>
        </p:nvPicPr>
        <p:blipFill>
          <a:blip r:embed="rId2"/>
          <a:stretch>
            <a:fillRect/>
          </a:stretch>
        </p:blipFill>
        <p:spPr>
          <a:xfrm>
            <a:off x="348864" y="467617"/>
            <a:ext cx="5208946" cy="5571066"/>
          </a:xfrm>
          <a:prstGeom prst="rect">
            <a:avLst/>
          </a:prstGeom>
        </p:spPr>
      </p:pic>
      <p:pic>
        <p:nvPicPr>
          <p:cNvPr id="5" name="Picture 4">
            <a:extLst>
              <a:ext uri="{FF2B5EF4-FFF2-40B4-BE49-F238E27FC236}">
                <a16:creationId xmlns:a16="http://schemas.microsoft.com/office/drawing/2014/main" id="{60954682-CADE-06CC-5FB8-669788D5EE2E}"/>
              </a:ext>
            </a:extLst>
          </p:cNvPr>
          <p:cNvPicPr>
            <a:picLocks noChangeAspect="1"/>
          </p:cNvPicPr>
          <p:nvPr/>
        </p:nvPicPr>
        <p:blipFill>
          <a:blip r:embed="rId3"/>
          <a:stretch>
            <a:fillRect/>
          </a:stretch>
        </p:blipFill>
        <p:spPr>
          <a:xfrm>
            <a:off x="6810102" y="461898"/>
            <a:ext cx="4008300" cy="2475653"/>
          </a:xfrm>
          <a:prstGeom prst="rect">
            <a:avLst/>
          </a:prstGeom>
        </p:spPr>
      </p:pic>
      <p:pic>
        <p:nvPicPr>
          <p:cNvPr id="6" name="Picture 5">
            <a:extLst>
              <a:ext uri="{FF2B5EF4-FFF2-40B4-BE49-F238E27FC236}">
                <a16:creationId xmlns:a16="http://schemas.microsoft.com/office/drawing/2014/main" id="{5839F0E9-AC31-A58A-184F-02474092C93B}"/>
              </a:ext>
            </a:extLst>
          </p:cNvPr>
          <p:cNvPicPr>
            <a:picLocks noChangeAspect="1"/>
          </p:cNvPicPr>
          <p:nvPr/>
        </p:nvPicPr>
        <p:blipFill>
          <a:blip r:embed="rId4"/>
          <a:stretch>
            <a:fillRect/>
          </a:stretch>
        </p:blipFill>
        <p:spPr>
          <a:xfrm>
            <a:off x="6634191" y="3151992"/>
            <a:ext cx="4360123" cy="2886692"/>
          </a:xfrm>
          <a:prstGeom prst="rect">
            <a:avLst/>
          </a:prstGeom>
        </p:spPr>
      </p:pic>
    </p:spTree>
    <p:extLst>
      <p:ext uri="{BB962C8B-B14F-4D97-AF65-F5344CB8AC3E}">
        <p14:creationId xmlns:p14="http://schemas.microsoft.com/office/powerpoint/2010/main" val="32517422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chor="ctr">
            <a:normAutofit lnSpcReduction="10000"/>
          </a:bodyPr>
          <a:lstStyle/>
          <a:p>
            <a:pPr algn="ctr"/>
            <a:r>
              <a:rPr lang="es-MX" sz="4800" dirty="0"/>
              <a:t>
¿A quién llaman las PYMES y Personas?</a:t>
            </a:r>
          </a:p>
          <a:p>
            <a:pPr algn="ctr"/>
            <a:r>
              <a:rPr lang="en-US" sz="4800" dirty="0"/>
              <a:t>
</a:t>
            </a:r>
          </a:p>
        </p:txBody>
      </p:sp>
    </p:spTree>
    <p:extLst>
      <p:ext uri="{BB962C8B-B14F-4D97-AF65-F5344CB8AC3E}">
        <p14:creationId xmlns:p14="http://schemas.microsoft.com/office/powerpoint/2010/main" val="2283616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EA848-E2A2-449A-A469-FB56E6BD3E0B}"/>
              </a:ext>
            </a:extLst>
          </p:cNvPr>
          <p:cNvSpPr>
            <a:spLocks noGrp="1"/>
          </p:cNvSpPr>
          <p:nvPr>
            <p:ph type="title"/>
          </p:nvPr>
        </p:nvSpPr>
        <p:spPr/>
        <p:txBody>
          <a:bodyPr>
            <a:normAutofit/>
          </a:bodyPr>
          <a:lstStyle/>
          <a:p>
            <a:r>
              <a:rPr lang="en-US" sz="2400" dirty="0"/>
              <a:t>We are the cyber services </a:t>
            </a:r>
            <a:r>
              <a:rPr lang="en-US" sz="2400" u="sng" dirty="0">
                <a:uFill>
                  <a:solidFill>
                    <a:schemeClr val="accent2"/>
                  </a:solidFill>
                </a:uFill>
              </a:rPr>
              <a:t>partner of choice</a:t>
            </a:r>
            <a:endParaRPr lang="en-US" sz="2400" u="sng" dirty="0">
              <a:solidFill>
                <a:schemeClr val="accent1"/>
              </a:solidFill>
              <a:uFill>
                <a:solidFill>
                  <a:schemeClr val="accent2"/>
                </a:solidFill>
              </a:uFill>
            </a:endParaRPr>
          </a:p>
        </p:txBody>
      </p:sp>
      <p:sp>
        <p:nvSpPr>
          <p:cNvPr id="7" name="TextBox 6">
            <a:extLst>
              <a:ext uri="{FF2B5EF4-FFF2-40B4-BE49-F238E27FC236}">
                <a16:creationId xmlns:a16="http://schemas.microsoft.com/office/drawing/2014/main" id="{F40AEAED-FE07-43C2-8153-8709D3ED9A39}"/>
              </a:ext>
            </a:extLst>
          </p:cNvPr>
          <p:cNvSpPr txBox="1"/>
          <p:nvPr/>
        </p:nvSpPr>
        <p:spPr>
          <a:xfrm>
            <a:off x="786549" y="3248990"/>
            <a:ext cx="3480715" cy="1976353"/>
          </a:xfrm>
          <a:prstGeom prst="rect">
            <a:avLst/>
          </a:prstGeom>
          <a:noFill/>
          <a:ln>
            <a:noFill/>
          </a:ln>
        </p:spPr>
        <p:txBody>
          <a:bodyPr wrap="square" lIns="0" tIns="45709" rIns="0" bIns="45709" rtlCol="0" anchor="t">
            <a:spAutoFit/>
          </a:bodyPr>
          <a:lstStyle/>
          <a:p>
            <a:pPr marL="182880" indent="-182880">
              <a:lnSpc>
                <a:spcPct val="110000"/>
              </a:lnSpc>
              <a:buClr>
                <a:schemeClr val="accent1"/>
              </a:buClr>
              <a:buSzPct val="100000"/>
              <a:buFont typeface="Arial" panose="020B0604020202020204" pitchFamily="34" charset="0"/>
              <a:buChar char="•"/>
            </a:pPr>
            <a:r>
              <a:rPr lang="es-ES" sz="1400" dirty="0">
                <a:cs typeface="Gisha" panose="020B0502040204020203" pitchFamily="34" charset="-79"/>
                <a:sym typeface="Roboto"/>
              </a:rPr>
              <a:t>Soporte de productos y marketing
Estrategia de reaseguro
Gestión de riesgos y preparación
Manejo de reclamos cibernéticos
Respuesta y resolución de incidentes cibernéticos 
Capacidades multilingües
Capacidades forenses remotas</a:t>
            </a:r>
            <a:endParaRPr lang="en-US" sz="1400" b="1" dirty="0">
              <a:solidFill>
                <a:schemeClr val="dk1"/>
              </a:solidFill>
              <a:ea typeface="Roboto"/>
              <a:cs typeface="Roboto"/>
              <a:sym typeface="Roboto"/>
            </a:endParaRPr>
          </a:p>
        </p:txBody>
      </p:sp>
      <p:sp>
        <p:nvSpPr>
          <p:cNvPr id="8" name="Rectangle 7">
            <a:extLst>
              <a:ext uri="{FF2B5EF4-FFF2-40B4-BE49-F238E27FC236}">
                <a16:creationId xmlns:a16="http://schemas.microsoft.com/office/drawing/2014/main" id="{D6822AF2-AF5F-4484-86B8-3B4F7579E0A1}"/>
              </a:ext>
            </a:extLst>
          </p:cNvPr>
          <p:cNvSpPr/>
          <p:nvPr/>
        </p:nvSpPr>
        <p:spPr>
          <a:xfrm>
            <a:off x="4493023" y="2938195"/>
            <a:ext cx="3441931" cy="25530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6" tIns="45709" rIns="91416" bIns="45709" rtlCol="0" anchor="t"/>
          <a:lstStyle/>
          <a:p>
            <a:pPr marL="182880" indent="-182880">
              <a:lnSpc>
                <a:spcPct val="110000"/>
              </a:lnSpc>
              <a:buClr>
                <a:schemeClr val="accent1"/>
              </a:buClr>
              <a:buSzPct val="100000"/>
              <a:buFont typeface="Arial" panose="020B0604020202020204" pitchFamily="34" charset="0"/>
              <a:buChar char="•"/>
            </a:pPr>
            <a:r>
              <a:rPr lang="es-ES" sz="1400" dirty="0">
                <a:solidFill>
                  <a:schemeClr val="tx1"/>
                </a:solidFill>
                <a:cs typeface="Gisha" panose="020B0502040204020203" pitchFamily="34" charset="-79"/>
                <a:sym typeface="Roboto"/>
              </a:rPr>
              <a:t>Portal de conocimiento en línea
Orientación oportuna sobre las amenazas a la ciberseguridad
Contenido educativo integral y fresco para potenciar la gestión proactiva de riesgos
Formación para agentes de ventas
</a:t>
            </a:r>
            <a:r>
              <a:rPr lang="es-ES" sz="1400" dirty="0" err="1">
                <a:solidFill>
                  <a:schemeClr val="tx1"/>
                </a:solidFill>
                <a:cs typeface="Gisha" panose="020B0502040204020203" pitchFamily="34" charset="-79"/>
                <a:sym typeface="Roboto"/>
              </a:rPr>
              <a:t>Co-branding</a:t>
            </a:r>
            <a:r>
              <a:rPr lang="es-ES" sz="1400" dirty="0">
                <a:solidFill>
                  <a:schemeClr val="tx1"/>
                </a:solidFill>
                <a:cs typeface="Gisha" panose="020B0502040204020203" pitchFamily="34" charset="-79"/>
                <a:sym typeface="Roboto"/>
              </a:rPr>
              <a:t> habilitado
Multilingüe</a:t>
            </a:r>
            <a:endParaRPr lang="en-US" sz="1400" dirty="0">
              <a:solidFill>
                <a:schemeClr val="tx1"/>
              </a:solidFill>
              <a:cs typeface="Gisha" panose="020B0502040204020203" pitchFamily="34" charset="-79"/>
            </a:endParaRPr>
          </a:p>
        </p:txBody>
      </p:sp>
      <p:sp>
        <p:nvSpPr>
          <p:cNvPr id="10" name="TextBox 9">
            <a:extLst>
              <a:ext uri="{FF2B5EF4-FFF2-40B4-BE49-F238E27FC236}">
                <a16:creationId xmlns:a16="http://schemas.microsoft.com/office/drawing/2014/main" id="{4C3ADC75-4E44-4F39-9BE5-6297F61BCC84}"/>
              </a:ext>
            </a:extLst>
          </p:cNvPr>
          <p:cNvSpPr txBox="1"/>
          <p:nvPr/>
        </p:nvSpPr>
        <p:spPr>
          <a:xfrm>
            <a:off x="818149" y="5294796"/>
            <a:ext cx="3480715" cy="923330"/>
          </a:xfrm>
          <a:prstGeom prst="rect">
            <a:avLst/>
          </a:prstGeom>
          <a:noFill/>
          <a:ln w="38100">
            <a:solidFill>
              <a:schemeClr val="accent1"/>
            </a:solidFill>
          </a:ln>
        </p:spPr>
        <p:txBody>
          <a:bodyPr wrap="square" rtlCol="0">
            <a:spAutoFit/>
          </a:bodyPr>
          <a:lstStyle/>
          <a:p>
            <a:pPr algn="ctr"/>
            <a:r>
              <a:rPr lang="es-ES" b="1" dirty="0">
                <a:solidFill>
                  <a:schemeClr val="accent1"/>
                </a:solidFill>
              </a:rPr>
              <a:t>Más de 17,5 millones 
Hogares cubiertos
</a:t>
            </a:r>
            <a:endParaRPr lang="en-US" b="1" dirty="0">
              <a:solidFill>
                <a:schemeClr val="accent1"/>
              </a:solidFill>
            </a:endParaRPr>
          </a:p>
        </p:txBody>
      </p:sp>
      <p:sp>
        <p:nvSpPr>
          <p:cNvPr id="11" name="TextBox 10">
            <a:extLst>
              <a:ext uri="{FF2B5EF4-FFF2-40B4-BE49-F238E27FC236}">
                <a16:creationId xmlns:a16="http://schemas.microsoft.com/office/drawing/2014/main" id="{15F7F155-37C3-4F1E-A765-F14EB5A27032}"/>
              </a:ext>
            </a:extLst>
          </p:cNvPr>
          <p:cNvSpPr txBox="1"/>
          <p:nvPr/>
        </p:nvSpPr>
        <p:spPr>
          <a:xfrm>
            <a:off x="4493023" y="5294794"/>
            <a:ext cx="3441930" cy="923330"/>
          </a:xfrm>
          <a:prstGeom prst="rect">
            <a:avLst/>
          </a:prstGeom>
          <a:noFill/>
          <a:ln w="38100">
            <a:solidFill>
              <a:schemeClr val="accent1"/>
            </a:solidFill>
          </a:ln>
        </p:spPr>
        <p:txBody>
          <a:bodyPr wrap="square" rtlCol="0">
            <a:spAutoFit/>
          </a:bodyPr>
          <a:lstStyle/>
          <a:p>
            <a:pPr algn="ctr"/>
            <a:r>
              <a:rPr lang="es-ES" b="1" dirty="0">
                <a:solidFill>
                  <a:schemeClr val="accent1"/>
                </a:solidFill>
              </a:rPr>
              <a:t>Más de 1,4 millones de empresas cubiertas
</a:t>
            </a:r>
            <a:endParaRPr lang="en-US" b="1" dirty="0">
              <a:solidFill>
                <a:schemeClr val="accent1"/>
              </a:solidFill>
            </a:endParaRPr>
          </a:p>
        </p:txBody>
      </p:sp>
      <p:sp>
        <p:nvSpPr>
          <p:cNvPr id="13" name="TextBox 12">
            <a:extLst>
              <a:ext uri="{FF2B5EF4-FFF2-40B4-BE49-F238E27FC236}">
                <a16:creationId xmlns:a16="http://schemas.microsoft.com/office/drawing/2014/main" id="{DD902639-13FB-4CA3-8215-BA7D1FF404AA}"/>
              </a:ext>
            </a:extLst>
          </p:cNvPr>
          <p:cNvSpPr txBox="1"/>
          <p:nvPr/>
        </p:nvSpPr>
        <p:spPr>
          <a:xfrm>
            <a:off x="8059319" y="5294794"/>
            <a:ext cx="3480715" cy="923330"/>
          </a:xfrm>
          <a:prstGeom prst="rect">
            <a:avLst/>
          </a:prstGeom>
          <a:noFill/>
          <a:ln w="38100">
            <a:solidFill>
              <a:schemeClr val="accent1"/>
            </a:solidFill>
          </a:ln>
        </p:spPr>
        <p:txBody>
          <a:bodyPr wrap="square" rtlCol="0">
            <a:spAutoFit/>
          </a:bodyPr>
          <a:lstStyle/>
          <a:p>
            <a:pPr algn="ctr"/>
            <a:r>
              <a:rPr lang="es-ES" b="1" dirty="0">
                <a:solidFill>
                  <a:schemeClr val="accent1"/>
                </a:solidFill>
              </a:rPr>
              <a:t>Más de 25 países
En todo el mundo y en crecimiento
</a:t>
            </a:r>
            <a:endParaRPr lang="en-US" b="1" dirty="0">
              <a:solidFill>
                <a:schemeClr val="accent1"/>
              </a:solidFill>
            </a:endParaRPr>
          </a:p>
        </p:txBody>
      </p:sp>
      <p:sp>
        <p:nvSpPr>
          <p:cNvPr id="15" name="TextBox 14">
            <a:extLst>
              <a:ext uri="{FF2B5EF4-FFF2-40B4-BE49-F238E27FC236}">
                <a16:creationId xmlns:a16="http://schemas.microsoft.com/office/drawing/2014/main" id="{9202E0E8-5D35-4302-9F37-1E5D99C178CB}"/>
              </a:ext>
            </a:extLst>
          </p:cNvPr>
          <p:cNvSpPr txBox="1"/>
          <p:nvPr/>
        </p:nvSpPr>
        <p:spPr>
          <a:xfrm>
            <a:off x="8380782" y="2458328"/>
            <a:ext cx="2567987" cy="707886"/>
          </a:xfrm>
          <a:prstGeom prst="rect">
            <a:avLst/>
          </a:prstGeom>
          <a:noFill/>
        </p:spPr>
        <p:txBody>
          <a:bodyPr wrap="square" rtlCol="0">
            <a:spAutoFit/>
          </a:bodyPr>
          <a:lstStyle/>
          <a:p>
            <a:pPr algn="ctr"/>
            <a:r>
              <a:rPr lang="en-US" sz="2400" b="1" dirty="0" err="1"/>
              <a:t>Herramientas</a:t>
            </a:r>
            <a:r>
              <a:rPr lang="en-US" sz="1600" b="1" dirty="0"/>
              <a:t>
</a:t>
            </a:r>
          </a:p>
        </p:txBody>
      </p:sp>
      <p:sp>
        <p:nvSpPr>
          <p:cNvPr id="16" name="TextBox 15">
            <a:extLst>
              <a:ext uri="{FF2B5EF4-FFF2-40B4-BE49-F238E27FC236}">
                <a16:creationId xmlns:a16="http://schemas.microsoft.com/office/drawing/2014/main" id="{F4E73084-FC5C-4ABF-945F-269FBB7C330D}"/>
              </a:ext>
            </a:extLst>
          </p:cNvPr>
          <p:cNvSpPr txBox="1"/>
          <p:nvPr/>
        </p:nvSpPr>
        <p:spPr>
          <a:xfrm>
            <a:off x="8129111" y="2935540"/>
            <a:ext cx="3341133" cy="2450329"/>
          </a:xfrm>
          <a:prstGeom prst="rect">
            <a:avLst/>
          </a:prstGeom>
          <a:noFill/>
          <a:ln>
            <a:noFill/>
          </a:ln>
        </p:spPr>
        <p:txBody>
          <a:bodyPr wrap="square" lIns="0" tIns="45709" rIns="0" bIns="45709" rtlCol="0" anchor="t">
            <a:spAutoFit/>
          </a:bodyPr>
          <a:lstStyle/>
          <a:p>
            <a:pPr marL="182880" indent="-182880">
              <a:lnSpc>
                <a:spcPct val="110000"/>
              </a:lnSpc>
              <a:buClr>
                <a:schemeClr val="accent1"/>
              </a:buClr>
              <a:buSzPct val="100000"/>
              <a:buFont typeface="Arial" panose="020B0604020202020204" pitchFamily="34" charset="0"/>
              <a:buChar char="•"/>
            </a:pPr>
            <a:r>
              <a:rPr lang="es-ES" sz="1400" dirty="0">
                <a:cs typeface="Gisha" panose="020B0502040204020203" pitchFamily="34" charset="-79"/>
              </a:rPr>
              <a:t>Plataforma digital líder: gestión de identidad y reputación, monitoreo integral de crédito, web oscura y redes sociales
Análisis de puntuación de riesgo patentados
Versiones para consumidores y empresas, todas las de marca blanca habilitadas
Aplicaciones móviles
Expansión global*
</a:t>
            </a:r>
            <a:endParaRPr lang="en-US" sz="1400" dirty="0">
              <a:cs typeface="Gisha" panose="020B0502040204020203" pitchFamily="34" charset="-79"/>
            </a:endParaRPr>
          </a:p>
        </p:txBody>
      </p:sp>
      <p:sp>
        <p:nvSpPr>
          <p:cNvPr id="17" name="TextBox 16">
            <a:extLst>
              <a:ext uri="{FF2B5EF4-FFF2-40B4-BE49-F238E27FC236}">
                <a16:creationId xmlns:a16="http://schemas.microsoft.com/office/drawing/2014/main" id="{F7AFD6CD-3F7B-434B-B317-D8A2BC977DEF}"/>
              </a:ext>
            </a:extLst>
          </p:cNvPr>
          <p:cNvSpPr txBox="1"/>
          <p:nvPr/>
        </p:nvSpPr>
        <p:spPr>
          <a:xfrm>
            <a:off x="188972" y="2372736"/>
            <a:ext cx="4405230" cy="707886"/>
          </a:xfrm>
          <a:prstGeom prst="rect">
            <a:avLst/>
          </a:prstGeom>
          <a:noFill/>
        </p:spPr>
        <p:txBody>
          <a:bodyPr wrap="square" rtlCol="0">
            <a:spAutoFit/>
          </a:bodyPr>
          <a:lstStyle/>
          <a:p>
            <a:pPr algn="ctr"/>
            <a:r>
              <a:rPr lang="es-ES" sz="2400" b="1" dirty="0"/>
              <a:t>Servicios Expertos </a:t>
            </a:r>
            <a:r>
              <a:rPr lang="es-ES" sz="1600" b="1" dirty="0"/>
              <a:t>
</a:t>
            </a:r>
            <a:endParaRPr lang="en-US" sz="1600" b="1" dirty="0"/>
          </a:p>
        </p:txBody>
      </p:sp>
      <p:sp>
        <p:nvSpPr>
          <p:cNvPr id="18" name="TextBox 17">
            <a:extLst>
              <a:ext uri="{FF2B5EF4-FFF2-40B4-BE49-F238E27FC236}">
                <a16:creationId xmlns:a16="http://schemas.microsoft.com/office/drawing/2014/main" id="{C65E34D8-F1B0-45E7-9B74-DC71E4B55BE8}"/>
              </a:ext>
            </a:extLst>
          </p:cNvPr>
          <p:cNvSpPr txBox="1"/>
          <p:nvPr/>
        </p:nvSpPr>
        <p:spPr>
          <a:xfrm>
            <a:off x="4720037" y="2452182"/>
            <a:ext cx="2567987" cy="707886"/>
          </a:xfrm>
          <a:prstGeom prst="rect">
            <a:avLst/>
          </a:prstGeom>
          <a:noFill/>
        </p:spPr>
        <p:txBody>
          <a:bodyPr wrap="square" rtlCol="0">
            <a:spAutoFit/>
          </a:bodyPr>
          <a:lstStyle/>
          <a:p>
            <a:pPr algn="ctr"/>
            <a:r>
              <a:rPr lang="en-US" sz="2400" b="1" dirty="0" err="1"/>
              <a:t>Educación</a:t>
            </a:r>
            <a:r>
              <a:rPr lang="en-US" sz="1600" b="1" dirty="0"/>
              <a:t>
</a:t>
            </a:r>
          </a:p>
        </p:txBody>
      </p:sp>
      <p:pic>
        <p:nvPicPr>
          <p:cNvPr id="21" name="Picture 20">
            <a:extLst>
              <a:ext uri="{FF2B5EF4-FFF2-40B4-BE49-F238E27FC236}">
                <a16:creationId xmlns:a16="http://schemas.microsoft.com/office/drawing/2014/main" id="{508976B9-2D9C-FC41-98E0-320B6BAF48D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2744" y="1264443"/>
            <a:ext cx="10917500" cy="1245003"/>
          </a:xfrm>
          <a:prstGeom prst="rect">
            <a:avLst/>
          </a:prstGeom>
        </p:spPr>
      </p:pic>
      <p:sp>
        <p:nvSpPr>
          <p:cNvPr id="14" name="TextBox 13"/>
          <p:cNvSpPr txBox="1"/>
          <p:nvPr/>
        </p:nvSpPr>
        <p:spPr>
          <a:xfrm>
            <a:off x="4730417" y="6453248"/>
            <a:ext cx="2731169" cy="261610"/>
          </a:xfrm>
          <a:prstGeom prst="rect">
            <a:avLst/>
          </a:prstGeom>
          <a:noFill/>
        </p:spPr>
        <p:txBody>
          <a:bodyPr wrap="square" rtlCol="0" anchor="ctr">
            <a:spAutoFit/>
          </a:bodyPr>
          <a:lstStyle/>
          <a:p>
            <a:pPr algn="ctr"/>
            <a:r>
              <a:rPr lang="en-US" sz="1100" dirty="0"/>
              <a:t>Confidential | Internal use only</a:t>
            </a:r>
          </a:p>
        </p:txBody>
      </p:sp>
      <p:sp>
        <p:nvSpPr>
          <p:cNvPr id="3" name="TextBox 2">
            <a:extLst>
              <a:ext uri="{FF2B5EF4-FFF2-40B4-BE49-F238E27FC236}">
                <a16:creationId xmlns:a16="http://schemas.microsoft.com/office/drawing/2014/main" id="{0B67094D-BC87-F543-A3F1-DB6CD2F8ACC6}"/>
              </a:ext>
            </a:extLst>
          </p:cNvPr>
          <p:cNvSpPr txBox="1"/>
          <p:nvPr/>
        </p:nvSpPr>
        <p:spPr>
          <a:xfrm>
            <a:off x="-467139" y="1311965"/>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482208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 Placeholder 2"/>
          <p:cNvSpPr txBox="1">
            <a:spLocks/>
          </p:cNvSpPr>
          <p:nvPr/>
        </p:nvSpPr>
        <p:spPr>
          <a:xfrm>
            <a:off x="1054581" y="968464"/>
            <a:ext cx="10380465" cy="5034303"/>
          </a:xfrm>
          <a:prstGeom prst="rect">
            <a:avLst/>
          </a:prstGeom>
        </p:spPr>
        <p:txBody>
          <a:bodyPr/>
          <a:lstStyle>
            <a:lvl1pPr marL="226444" indent="-226444"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1pPr>
            <a:lvl2pPr marL="531191" indent="-304747" algn="l" defTabSz="1218987" rtl="0" eaLnBrk="1" latinLnBrk="0" hangingPunct="1">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768216" indent="-237025" algn="l" defTabSz="1218987" rtl="0" eaLnBrk="1" latinLnBrk="0" hangingPunct="1">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3pPr>
            <a:lvl4pPr marL="1072963" indent="-30474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1297290" indent="-224327" algn="l" defTabSz="1218987"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5pPr>
            <a:lvl6pPr marL="335221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lgn="just">
              <a:buNone/>
            </a:pPr>
            <a:endParaRPr lang="en-US" dirty="0">
              <a:solidFill>
                <a:srgbClr val="000000"/>
              </a:solidFill>
              <a:latin typeface="Arial"/>
            </a:endParaRPr>
          </a:p>
          <a:p>
            <a:pPr marL="457200" indent="-457200" algn="just"/>
            <a:r>
              <a:rPr lang="es-ES" sz="2000" b="1" dirty="0">
                <a:solidFill>
                  <a:srgbClr val="000000"/>
                </a:solidFill>
                <a:latin typeface="Arial"/>
              </a:rPr>
              <a:t>Empresa / Corporativo: </a:t>
            </a:r>
            <a:r>
              <a:rPr lang="es-ES" sz="2000" dirty="0" err="1">
                <a:solidFill>
                  <a:srgbClr val="000000"/>
                </a:solidFill>
                <a:latin typeface="Arial"/>
              </a:rPr>
              <a:t>Breach</a:t>
            </a:r>
            <a:r>
              <a:rPr lang="es-ES" sz="2000" dirty="0">
                <a:solidFill>
                  <a:srgbClr val="000000"/>
                </a:solidFill>
                <a:latin typeface="Arial"/>
              </a:rPr>
              <a:t> Coach, Aumentos de Tarifas del 20% + y Tendencias Recientes de </a:t>
            </a:r>
            <a:r>
              <a:rPr lang="es-ES" sz="2000" dirty="0" err="1">
                <a:solidFill>
                  <a:srgbClr val="000000"/>
                </a:solidFill>
                <a:latin typeface="Arial"/>
              </a:rPr>
              <a:t>Ransomware</a:t>
            </a:r>
            <a:r>
              <a:rPr lang="es-ES" sz="2000" dirty="0">
                <a:solidFill>
                  <a:srgbClr val="000000"/>
                </a:solidFill>
                <a:latin typeface="Arial"/>
              </a:rPr>
              <a:t> e Ingeniería Social (BEC)
</a:t>
            </a:r>
            <a:r>
              <a:rPr lang="es-ES" sz="2000" b="1" dirty="0">
                <a:solidFill>
                  <a:srgbClr val="000000"/>
                </a:solidFill>
                <a:latin typeface="Arial"/>
              </a:rPr>
              <a:t>Adopción Cibernética Masiva: </a:t>
            </a:r>
            <a:r>
              <a:rPr lang="es-ES" sz="2000" dirty="0">
                <a:solidFill>
                  <a:srgbClr val="000000"/>
                </a:solidFill>
                <a:latin typeface="Arial"/>
              </a:rPr>
              <a:t>PYME, profesional y granjas (Book Roll </a:t>
            </a:r>
            <a:r>
              <a:rPr lang="es-ES" sz="2000" dirty="0" err="1">
                <a:solidFill>
                  <a:srgbClr val="000000"/>
                </a:solidFill>
                <a:latin typeface="Arial"/>
              </a:rPr>
              <a:t>Out</a:t>
            </a:r>
            <a:r>
              <a:rPr lang="es-ES" sz="2000" dirty="0">
                <a:solidFill>
                  <a:srgbClr val="000000"/>
                </a:solidFill>
                <a:latin typeface="Arial"/>
              </a:rPr>
              <a:t>/ Expansión de Cobertura)
</a:t>
            </a:r>
            <a:r>
              <a:rPr lang="es-ES" sz="2000" b="1" dirty="0">
                <a:solidFill>
                  <a:srgbClr val="000000"/>
                </a:solidFill>
                <a:latin typeface="Arial"/>
              </a:rPr>
              <a:t>Seguro Cibernético de Personas: </a:t>
            </a:r>
            <a:r>
              <a:rPr lang="es-ES" sz="2000" dirty="0">
                <a:solidFill>
                  <a:srgbClr val="000000"/>
                </a:solidFill>
                <a:latin typeface="Arial"/>
              </a:rPr>
              <a:t>Líneas Privadas (propietarios de viviendas) Producto global en expansión  (HNW a Mercado general)
</a:t>
            </a:r>
            <a:r>
              <a:rPr lang="es-ES" sz="2000" b="1" dirty="0">
                <a:solidFill>
                  <a:srgbClr val="000000"/>
                </a:solidFill>
                <a:latin typeface="Arial"/>
              </a:rPr>
              <a:t>Cambios en el apetito cibernético </a:t>
            </a:r>
            <a:r>
              <a:rPr lang="es-ES" sz="2000" dirty="0">
                <a:solidFill>
                  <a:srgbClr val="000000"/>
                </a:solidFill>
                <a:latin typeface="Arial"/>
              </a:rPr>
              <a:t>de los mercados de reaseguros (crecimiento, agregación y riesgo sistémico)
</a:t>
            </a:r>
            <a:r>
              <a:rPr lang="es-ES" sz="2000" b="1" dirty="0" err="1">
                <a:solidFill>
                  <a:srgbClr val="000000"/>
                </a:solidFill>
                <a:latin typeface="Arial"/>
              </a:rPr>
              <a:t>Insurtech</a:t>
            </a:r>
            <a:r>
              <a:rPr lang="es-ES" sz="2000" b="1" dirty="0">
                <a:solidFill>
                  <a:srgbClr val="000000"/>
                </a:solidFill>
                <a:latin typeface="Arial"/>
              </a:rPr>
              <a:t>, </a:t>
            </a:r>
            <a:r>
              <a:rPr lang="es-ES" sz="2000" dirty="0">
                <a:solidFill>
                  <a:srgbClr val="000000"/>
                </a:solidFill>
                <a:latin typeface="Arial"/>
              </a:rPr>
              <a:t>Internet de las Cosas y Conexión Digital a asegurados
</a:t>
            </a:r>
            <a:r>
              <a:rPr lang="es-ES" sz="2000" b="1" dirty="0">
                <a:solidFill>
                  <a:srgbClr val="000000"/>
                </a:solidFill>
                <a:latin typeface="Arial"/>
              </a:rPr>
              <a:t>Tendencia de seguros integrada</a:t>
            </a:r>
            <a:r>
              <a:rPr lang="es-ES" sz="2000" dirty="0">
                <a:solidFill>
                  <a:srgbClr val="000000"/>
                </a:solidFill>
                <a:latin typeface="Arial"/>
              </a:rPr>
              <a:t>: telecomunicaciones, bancos / tarjetas de crédito, SAAS, grupos de membresía
</a:t>
            </a:r>
            <a:r>
              <a:rPr lang="es-ES" sz="2000" b="1" dirty="0">
                <a:solidFill>
                  <a:srgbClr val="000000"/>
                </a:solidFill>
                <a:latin typeface="Arial"/>
              </a:rPr>
              <a:t>Plataformas de cotización digital </a:t>
            </a:r>
            <a:r>
              <a:rPr lang="es-ES" sz="2000" dirty="0">
                <a:solidFill>
                  <a:srgbClr val="000000"/>
                </a:solidFill>
                <a:latin typeface="Arial"/>
              </a:rPr>
              <a:t>de aseguradoras atacadas por hackers</a:t>
            </a:r>
            <a:endParaRPr lang="en-US" dirty="0">
              <a:solidFill>
                <a:srgbClr val="000000"/>
              </a:solidFill>
              <a:latin typeface="Arial"/>
            </a:endParaRPr>
          </a:p>
        </p:txBody>
      </p:sp>
      <p:sp>
        <p:nvSpPr>
          <p:cNvPr id="2" name="TextBox 1">
            <a:extLst>
              <a:ext uri="{FF2B5EF4-FFF2-40B4-BE49-F238E27FC236}">
                <a16:creationId xmlns:a16="http://schemas.microsoft.com/office/drawing/2014/main" id="{F4999950-C5C6-5F49-8F0C-1FC1F63673A2}"/>
              </a:ext>
            </a:extLst>
          </p:cNvPr>
          <p:cNvSpPr txBox="1"/>
          <p:nvPr/>
        </p:nvSpPr>
        <p:spPr>
          <a:xfrm>
            <a:off x="2793996" y="465119"/>
            <a:ext cx="6901633" cy="1200329"/>
          </a:xfrm>
          <a:prstGeom prst="rect">
            <a:avLst/>
          </a:prstGeom>
          <a:noFill/>
        </p:spPr>
        <p:txBody>
          <a:bodyPr wrap="none" rtlCol="0">
            <a:spAutoFit/>
          </a:bodyPr>
          <a:lstStyle/>
          <a:p>
            <a:r>
              <a:rPr lang="en-US" sz="3600" b="1" dirty="0" err="1"/>
              <a:t>Tendencias</a:t>
            </a:r>
            <a:r>
              <a:rPr lang="en-US" sz="3600" b="1" dirty="0"/>
              <a:t> de </a:t>
            </a:r>
            <a:r>
              <a:rPr lang="en-US" sz="3600" b="1" dirty="0" err="1"/>
              <a:t>seguros</a:t>
            </a:r>
            <a:r>
              <a:rPr lang="en-US" sz="3600" b="1" dirty="0"/>
              <a:t> </a:t>
            </a:r>
            <a:r>
              <a:rPr lang="en-US" sz="3600" b="1" dirty="0" err="1"/>
              <a:t>cibernéticos</a:t>
            </a:r>
            <a:r>
              <a:rPr lang="en-US" sz="3600" b="1" dirty="0"/>
              <a:t>
</a:t>
            </a:r>
          </a:p>
        </p:txBody>
      </p:sp>
    </p:spTree>
    <p:extLst>
      <p:ext uri="{BB962C8B-B14F-4D97-AF65-F5344CB8AC3E}">
        <p14:creationId xmlns:p14="http://schemas.microsoft.com/office/powerpoint/2010/main" val="30889513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4233912" y="6232177"/>
            <a:ext cx="4803084" cy="830997"/>
          </a:xfrm>
          <a:prstGeom prst="rect">
            <a:avLst/>
          </a:prstGeom>
          <a:noFill/>
        </p:spPr>
        <p:txBody>
          <a:bodyPr wrap="square" numCol="1" rtlCol="0">
            <a:spAutoFit/>
          </a:bodyPr>
          <a:lstStyle/>
          <a:p>
            <a:r>
              <a:rPr lang="es-ES" sz="1600" baseline="30000" dirty="0">
                <a:latin typeface="Arial" panose="020B0604020202020204" pitchFamily="34" charset="0"/>
                <a:cs typeface="Arial" panose="020B0604020202020204" pitchFamily="34" charset="0"/>
              </a:rPr>
              <a:t>1Encuesta de conectividad y tendencias móviles 2021, Deloitte 2021
2El trabajo remoto persiste y las tendencias son permanentes, Gallup 2021
3Estásticas de uso de teléfono inteligente 2022, </a:t>
            </a:r>
            <a:r>
              <a:rPr lang="es-ES" sz="1600" baseline="30000" dirty="0" err="1">
                <a:latin typeface="Arial" panose="020B0604020202020204" pitchFamily="34" charset="0"/>
                <a:cs typeface="Arial" panose="020B0604020202020204" pitchFamily="34" charset="0"/>
              </a:rPr>
              <a:t>Zippia</a:t>
            </a:r>
            <a:r>
              <a:rPr lang="es-ES" sz="1600" baseline="30000" dirty="0">
                <a:latin typeface="Arial" panose="020B0604020202020204" pitchFamily="34" charset="0"/>
                <a:cs typeface="Arial" panose="020B0604020202020204" pitchFamily="34" charset="0"/>
              </a:rPr>
              <a:t> 2022
</a:t>
            </a:r>
            <a:endParaRPr lang="en-US" sz="1600" dirty="0">
              <a:latin typeface="Arial" panose="020B0604020202020204" pitchFamily="34" charset="0"/>
              <a:cs typeface="Arial" panose="020B0604020202020204" pitchFamily="34" charset="0"/>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2263" y="1308628"/>
            <a:ext cx="7750462" cy="4285755"/>
          </a:xfrm>
          <a:prstGeom prst="rect">
            <a:avLst/>
          </a:prstGeom>
        </p:spPr>
      </p:pic>
      <p:sp>
        <p:nvSpPr>
          <p:cNvPr id="18" name="TextBox 17"/>
          <p:cNvSpPr txBox="1"/>
          <p:nvPr/>
        </p:nvSpPr>
        <p:spPr>
          <a:xfrm>
            <a:off x="8852426" y="3354466"/>
            <a:ext cx="2534622" cy="3293209"/>
          </a:xfrm>
          <a:prstGeom prst="rect">
            <a:avLst/>
          </a:prstGeom>
          <a:noFill/>
        </p:spPr>
        <p:txBody>
          <a:bodyPr wrap="square" rtlCol="0">
            <a:spAutoFit/>
          </a:bodyPr>
          <a:lstStyle/>
          <a:p>
            <a:pPr algn="r"/>
            <a:r>
              <a:rPr lang="es-ES" sz="2400" dirty="0">
                <a:latin typeface="Arial" panose="020B0604020202020204" pitchFamily="34" charset="0"/>
                <a:cs typeface="Arial" panose="020B0604020202020204" pitchFamily="34" charset="0"/>
              </a:rPr>
              <a:t>La persona promedio pasa al menos 5 horas en su teléfono por día, revisando su teléfono 96 veces al día</a:t>
            </a:r>
            <a:r>
              <a:rPr lang="es-ES" sz="900" dirty="0">
                <a:latin typeface="Arial" panose="020B0604020202020204" pitchFamily="34" charset="0"/>
                <a:cs typeface="Arial" panose="020B0604020202020204" pitchFamily="34" charset="0"/>
              </a:rPr>
              <a:t>3</a:t>
            </a:r>
            <a:r>
              <a:rPr lang="es-ES" sz="2400" dirty="0">
                <a:latin typeface="Arial" panose="020B0604020202020204" pitchFamily="34" charset="0"/>
                <a:cs typeface="Arial" panose="020B0604020202020204" pitchFamily="34" charset="0"/>
              </a:rPr>
              <a:t>
</a:t>
            </a:r>
            <a:endParaRPr lang="en-US" sz="2400" baseline="30000" dirty="0">
              <a:latin typeface="Arial" panose="020B0604020202020204" pitchFamily="34" charset="0"/>
              <a:cs typeface="Arial" panose="020B0604020202020204" pitchFamily="34" charset="0"/>
            </a:endParaRPr>
          </a:p>
        </p:txBody>
      </p:sp>
      <p:sp>
        <p:nvSpPr>
          <p:cNvPr id="22" name="Rectangle 21"/>
          <p:cNvSpPr/>
          <p:nvPr/>
        </p:nvSpPr>
        <p:spPr>
          <a:xfrm>
            <a:off x="35253" y="1078653"/>
            <a:ext cx="2603439" cy="3693319"/>
          </a:xfrm>
          <a:prstGeom prst="rect">
            <a:avLst/>
          </a:prstGeom>
          <a:noFill/>
          <a:effectLst>
            <a:outerShdw blurRad="63500" sx="102000" sy="102000" algn="ctr" rotWithShape="0">
              <a:prstClr val="black">
                <a:alpha val="40000"/>
              </a:prstClr>
            </a:outerShdw>
          </a:effectLst>
        </p:spPr>
        <p:txBody>
          <a:bodyPr wrap="square">
            <a:spAutoFit/>
          </a:bodyPr>
          <a:lstStyle/>
          <a:p>
            <a:pPr lvl="0">
              <a:defRPr/>
            </a:pPr>
            <a:r>
              <a:rPr lang="es-ES" sz="2400" kern="0" dirty="0">
                <a:latin typeface="Arial" panose="020B0604020202020204" pitchFamily="34" charset="0"/>
                <a:cs typeface="Arial" panose="020B0604020202020204" pitchFamily="34" charset="0"/>
              </a:rPr>
              <a:t>El 38% de las personas reportaron más dispositivos conectados y tipos de dispositivos en comparación con la pre pandemia</a:t>
            </a:r>
            <a:r>
              <a:rPr lang="es-ES" sz="1000" kern="0" dirty="0">
                <a:latin typeface="Arial" panose="020B0604020202020204" pitchFamily="34" charset="0"/>
                <a:cs typeface="Arial" panose="020B0604020202020204" pitchFamily="34" charset="0"/>
              </a:rPr>
              <a:t>1</a:t>
            </a:r>
            <a:r>
              <a:rPr lang="es-ES" kern="0" dirty="0">
                <a:latin typeface="Arial" panose="020B0604020202020204" pitchFamily="34" charset="0"/>
                <a:cs typeface="Arial" panose="020B0604020202020204" pitchFamily="34" charset="0"/>
              </a:rPr>
              <a:t>
</a:t>
            </a:r>
            <a:endParaRPr kumimoji="0" lang="en-US"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7" name="TextBox 26"/>
          <p:cNvSpPr txBox="1"/>
          <p:nvPr/>
        </p:nvSpPr>
        <p:spPr>
          <a:xfrm>
            <a:off x="8336754" y="958515"/>
            <a:ext cx="3565966" cy="2492990"/>
          </a:xfrm>
          <a:prstGeom prst="rect">
            <a:avLst/>
          </a:prstGeom>
          <a:noFill/>
        </p:spPr>
        <p:txBody>
          <a:bodyPr wrap="square" rtlCol="0">
            <a:spAutoFit/>
          </a:bodyPr>
          <a:lstStyle/>
          <a:p>
            <a:pPr algn="r"/>
            <a:r>
              <a:rPr lang="es-ES" sz="2400" dirty="0">
                <a:latin typeface="Arial" panose="020B0604020202020204" pitchFamily="34" charset="0"/>
                <a:cs typeface="Arial" panose="020B0604020202020204" pitchFamily="34" charset="0"/>
              </a:rPr>
              <a:t>El 45% de los empleados de tiempo completo trabajan desde casa hasta cierto punto, incluido el 67% de los empleados de oficina</a:t>
            </a:r>
            <a:r>
              <a:rPr lang="es-ES" sz="900" dirty="0">
                <a:latin typeface="Arial" panose="020B0604020202020204" pitchFamily="34" charset="0"/>
                <a:cs typeface="Arial" panose="020B0604020202020204" pitchFamily="34" charset="0"/>
              </a:rPr>
              <a:t>2</a:t>
            </a:r>
            <a:r>
              <a:rPr lang="es-ES" dirty="0">
                <a:latin typeface="Arial" panose="020B0604020202020204" pitchFamily="34" charset="0"/>
                <a:cs typeface="Arial" panose="020B0604020202020204" pitchFamily="34" charset="0"/>
              </a:rPr>
              <a:t>
</a:t>
            </a:r>
            <a:endParaRPr lang="en-US" baseline="300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5490D634-E2F1-5D03-7437-39155879D799}"/>
              </a:ext>
            </a:extLst>
          </p:cNvPr>
          <p:cNvSpPr/>
          <p:nvPr/>
        </p:nvSpPr>
        <p:spPr>
          <a:xfrm>
            <a:off x="2623215" y="344856"/>
            <a:ext cx="7572253" cy="830997"/>
          </a:xfrm>
          <a:prstGeom prst="rect">
            <a:avLst/>
          </a:prstGeom>
          <a:noFill/>
          <a:effectLst>
            <a:outerShdw blurRad="63500" sx="102000" sy="102000" algn="ctr" rotWithShape="0">
              <a:prstClr val="black">
                <a:alpha val="40000"/>
              </a:prstClr>
            </a:outerShdw>
          </a:effectLst>
        </p:spPr>
        <p:txBody>
          <a:bodyPr wrap="square">
            <a:spAutoFit/>
          </a:bodyPr>
          <a:lstStyle/>
          <a:p>
            <a:pPr lvl="0" algn="ctr"/>
            <a:r>
              <a:rPr lang="es-ES" sz="2400" b="1" i="1" dirty="0">
                <a:solidFill>
                  <a:srgbClr val="000000"/>
                </a:solidFill>
                <a:latin typeface="Arial"/>
              </a:rPr>
              <a:t>Los hogares con dispositivos conectados tienen
una media de 25 dispositivos</a:t>
            </a:r>
            <a:r>
              <a:rPr lang="es-ES" sz="900" b="1" i="1" dirty="0">
                <a:solidFill>
                  <a:srgbClr val="000000"/>
                </a:solidFill>
                <a:latin typeface="Arial"/>
              </a:rPr>
              <a:t>1</a:t>
            </a:r>
            <a:endParaRPr lang="en-US" sz="900" b="1" dirty="0">
              <a:solidFill>
                <a:srgbClr val="000000"/>
              </a:solidFill>
              <a:latin typeface="Arial"/>
            </a:endParaRPr>
          </a:p>
        </p:txBody>
      </p:sp>
    </p:spTree>
    <p:extLst>
      <p:ext uri="{BB962C8B-B14F-4D97-AF65-F5344CB8AC3E}">
        <p14:creationId xmlns:p14="http://schemas.microsoft.com/office/powerpoint/2010/main" val="2038788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U-PPT-EXTERNAL-Template-16x9-20150626-b">
  <a:themeElements>
    <a:clrScheme name="TransUnion_PPT_Colors">
      <a:dk1>
        <a:srgbClr val="000000"/>
      </a:dk1>
      <a:lt1>
        <a:srgbClr val="FFFFFF"/>
      </a:lt1>
      <a:dk2>
        <a:srgbClr val="00A6CA"/>
      </a:dk2>
      <a:lt2>
        <a:srgbClr val="FCD800"/>
      </a:lt2>
      <a:accent1>
        <a:srgbClr val="00A6CA"/>
      </a:accent1>
      <a:accent2>
        <a:srgbClr val="FCD800"/>
      </a:accent2>
      <a:accent3>
        <a:srgbClr val="F17123"/>
      </a:accent3>
      <a:accent4>
        <a:srgbClr val="A9D161"/>
      </a:accent4>
      <a:accent5>
        <a:srgbClr val="A5A5A5"/>
      </a:accent5>
      <a:accent6>
        <a:srgbClr val="E04025"/>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6" id="{64B58001-C7FC-E542-9C73-A6A92470A528}" vid="{5D8EAF9E-7043-D147-9D1C-E6B8BF8DE971}"/>
    </a:ext>
  </a:extLst>
</a:theme>
</file>

<file path=ppt/theme/theme2.xml><?xml version="1.0" encoding="utf-8"?>
<a:theme xmlns:a="http://schemas.openxmlformats.org/drawingml/2006/main" name="TU-PPT-EXTERNAL-Template-16x9">
  <a:themeElements>
    <a:clrScheme name="TU colors">
      <a:dk1>
        <a:srgbClr val="000000"/>
      </a:dk1>
      <a:lt1>
        <a:srgbClr val="FFFFFF"/>
      </a:lt1>
      <a:dk2>
        <a:srgbClr val="00A6CA"/>
      </a:dk2>
      <a:lt2>
        <a:srgbClr val="A9A9A9"/>
      </a:lt2>
      <a:accent1>
        <a:srgbClr val="00A6CA"/>
      </a:accent1>
      <a:accent2>
        <a:srgbClr val="FCD800"/>
      </a:accent2>
      <a:accent3>
        <a:srgbClr val="F16E00"/>
      </a:accent3>
      <a:accent4>
        <a:srgbClr val="A9D161"/>
      </a:accent4>
      <a:accent5>
        <a:srgbClr val="008A00"/>
      </a:accent5>
      <a:accent6>
        <a:srgbClr val="EB0000"/>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5" id="{5788E1FD-4BF5-E54C-A046-24341CAC168F}" vid="{008094C4-230C-D847-99EA-6D0CBE2B38E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U-PPT-EXTERNAL-Template-16x9-20150626-b">
  <a:themeElements>
    <a:clrScheme name="TransUnion_PPT_Colors">
      <a:dk1>
        <a:srgbClr val="000000"/>
      </a:dk1>
      <a:lt1>
        <a:srgbClr val="FFFFFF"/>
      </a:lt1>
      <a:dk2>
        <a:srgbClr val="00A6CA"/>
      </a:dk2>
      <a:lt2>
        <a:srgbClr val="FCD800"/>
      </a:lt2>
      <a:accent1>
        <a:srgbClr val="00A6CA"/>
      </a:accent1>
      <a:accent2>
        <a:srgbClr val="FCD800"/>
      </a:accent2>
      <a:accent3>
        <a:srgbClr val="F17123"/>
      </a:accent3>
      <a:accent4>
        <a:srgbClr val="A9D161"/>
      </a:accent4>
      <a:accent5>
        <a:srgbClr val="A5A5A5"/>
      </a:accent5>
      <a:accent6>
        <a:srgbClr val="E04025"/>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6" id="{64B58001-C7FC-E542-9C73-A6A92470A528}" vid="{5D8EAF9E-7043-D147-9D1C-E6B8BF8DE97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ransUnion_PPT_Colors">
    <a:dk1>
      <a:srgbClr val="000000"/>
    </a:dk1>
    <a:lt1>
      <a:srgbClr val="FFFFFF"/>
    </a:lt1>
    <a:dk2>
      <a:srgbClr val="00A6CA"/>
    </a:dk2>
    <a:lt2>
      <a:srgbClr val="FCD800"/>
    </a:lt2>
    <a:accent1>
      <a:srgbClr val="00A6CA"/>
    </a:accent1>
    <a:accent2>
      <a:srgbClr val="FCD800"/>
    </a:accent2>
    <a:accent3>
      <a:srgbClr val="F17123"/>
    </a:accent3>
    <a:accent4>
      <a:srgbClr val="A9D161"/>
    </a:accent4>
    <a:accent5>
      <a:srgbClr val="A5A5A5"/>
    </a:accent5>
    <a:accent6>
      <a:srgbClr val="E04025"/>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ransUnion_PPT_Colors">
    <a:dk1>
      <a:srgbClr val="000000"/>
    </a:dk1>
    <a:lt1>
      <a:srgbClr val="FFFFFF"/>
    </a:lt1>
    <a:dk2>
      <a:srgbClr val="00A6CA"/>
    </a:dk2>
    <a:lt2>
      <a:srgbClr val="FCD800"/>
    </a:lt2>
    <a:accent1>
      <a:srgbClr val="00A6CA"/>
    </a:accent1>
    <a:accent2>
      <a:srgbClr val="FCD800"/>
    </a:accent2>
    <a:accent3>
      <a:srgbClr val="F17123"/>
    </a:accent3>
    <a:accent4>
      <a:srgbClr val="A9D161"/>
    </a:accent4>
    <a:accent5>
      <a:srgbClr val="A5A5A5"/>
    </a:accent5>
    <a:accent6>
      <a:srgbClr val="E04025"/>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A90CDDD8DBDF4082C3F6A5A12F564A" ma:contentTypeVersion="12" ma:contentTypeDescription="Create a new document." ma:contentTypeScope="" ma:versionID="f6e6cf4414f84ba57492c8e6c65d2ed6">
  <xsd:schema xmlns:xsd="http://www.w3.org/2001/XMLSchema" xmlns:xs="http://www.w3.org/2001/XMLSchema" xmlns:p="http://schemas.microsoft.com/office/2006/metadata/properties" xmlns:ns2="cbf0e184-e80f-4620-9e47-539d4a519557" xmlns:ns3="c3693666-893a-4ed1-888e-75e122cbda4f" targetNamespace="http://schemas.microsoft.com/office/2006/metadata/properties" ma:root="true" ma:fieldsID="2605ae9015a30936f3988ff646047521" ns2:_="" ns3:_="">
    <xsd:import namespace="cbf0e184-e80f-4620-9e47-539d4a519557"/>
    <xsd:import namespace="c3693666-893a-4ed1-888e-75e122cbda4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f0e184-e80f-4620-9e47-539d4a519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693666-893a-4ed1-888e-75e122cbda4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3693666-893a-4ed1-888e-75e122cbda4f">
      <UserInfo>
        <DisplayName>Matt Cullina</DisplayName>
        <AccountId>110</AccountId>
        <AccountType/>
      </UserInfo>
    </SharedWithUsers>
  </documentManagement>
</p:properties>
</file>

<file path=customXml/itemProps1.xml><?xml version="1.0" encoding="utf-8"?>
<ds:datastoreItem xmlns:ds="http://schemas.openxmlformats.org/officeDocument/2006/customXml" ds:itemID="{D090FFF2-1F2E-47F5-B96A-D3B32C45FD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f0e184-e80f-4620-9e47-539d4a519557"/>
    <ds:schemaRef ds:uri="c3693666-893a-4ed1-888e-75e122cbda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FD9847-5D05-4644-804E-AAF9EB7F5929}">
  <ds:schemaRefs>
    <ds:schemaRef ds:uri="http://schemas.microsoft.com/sharepoint/v3/contenttype/forms"/>
  </ds:schemaRefs>
</ds:datastoreItem>
</file>

<file path=customXml/itemProps3.xml><?xml version="1.0" encoding="utf-8"?>
<ds:datastoreItem xmlns:ds="http://schemas.openxmlformats.org/officeDocument/2006/customXml" ds:itemID="{CBF92745-F2BA-4790-A652-9650241A3DA9}">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c3693666-893a-4ed1-888e-75e122cbda4f"/>
    <ds:schemaRef ds:uri="http://schemas.microsoft.com/office/infopath/2007/PartnerControls"/>
    <ds:schemaRef ds:uri="cbf0e184-e80f-4620-9e47-539d4a51955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8071</TotalTime>
  <Words>3264</Words>
  <Application>Microsoft Office PowerPoint</Application>
  <PresentationFormat>Widescreen</PresentationFormat>
  <Paragraphs>360</Paragraphs>
  <Slides>23</Slides>
  <Notes>15</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42" baseType="lpstr">
      <vt:lpstr>Arial</vt:lpstr>
      <vt:lpstr>Calibri</vt:lpstr>
      <vt:lpstr>Calibri Light</vt:lpstr>
      <vt:lpstr>Courier New</vt:lpstr>
      <vt:lpstr>DIN Round OT</vt:lpstr>
      <vt:lpstr>Gisha</vt:lpstr>
      <vt:lpstr>Lato Light</vt:lpstr>
      <vt:lpstr>Open Sans Semibold</vt:lpstr>
      <vt:lpstr>Raleway</vt:lpstr>
      <vt:lpstr>Roboto</vt:lpstr>
      <vt:lpstr>Roboto Bold</vt:lpstr>
      <vt:lpstr>Roboto Medium</vt:lpstr>
      <vt:lpstr>Source Sans Pro</vt:lpstr>
      <vt:lpstr>System Font Regular</vt:lpstr>
      <vt:lpstr>TU-PPT-EXTERNAL-Template-16x9-20150626-b</vt:lpstr>
      <vt:lpstr>TU-PPT-EXTERNAL-Template-16x9</vt:lpstr>
      <vt:lpstr>Custom Design</vt:lpstr>
      <vt:lpstr>1_TU-PPT-EXTERNAL-Template-16x9-20150626-b</vt:lpstr>
      <vt:lpstr>think-cell Slide</vt:lpstr>
      <vt:lpstr>Riesgos cibernéticos y su impacto </vt:lpstr>
      <vt:lpstr>PowerPoint Presentation</vt:lpstr>
      <vt:lpstr>Ciberataques en América Latina y el Caribe 2021-2022</vt:lpstr>
      <vt:lpstr>PowerPoint Presentation</vt:lpstr>
      <vt:lpstr>PowerPoint Presentation</vt:lpstr>
      <vt:lpstr>PowerPoint Presentation</vt:lpstr>
      <vt:lpstr>We are the cyber services partner of choice</vt:lpstr>
      <vt:lpstr>PowerPoint Presentation</vt:lpstr>
      <vt:lpstr>PowerPoint Presentation</vt:lpstr>
      <vt:lpstr>PowerPoint Presentation</vt:lpstr>
      <vt:lpstr>PowerPoint Presentation</vt:lpstr>
      <vt:lpstr>La cobertura implicita del riesgos cibernéticos beneficia tanto a las aseguradoras como a los clientes
</vt:lpstr>
      <vt:lpstr>PowerPoint Presentation</vt:lpstr>
      <vt:lpstr>PowerPoint Presentation</vt:lpstr>
      <vt:lpstr>Nuestros servicios cibernéticos respaldan coberturas cibernéticas comunes
</vt:lpstr>
      <vt:lpstr>Tipos de pérdida de reclamos cibernéticos
</vt:lpstr>
      <vt:lpstr>Desglose de pagos de reclamos cibernéticos
</vt:lpstr>
      <vt:lpstr>Foto de las reclamaciones cibernéticas comerciales de las pymes
</vt:lpstr>
      <vt:lpstr>Foto de reclamos cibernéticos personales </vt:lpstr>
      <vt:lpstr>PowerPoint Presentation</vt:lpstr>
      <vt:lpstr>PowerPoint Presentation</vt:lpstr>
      <vt:lpstr>Conclusiones clave
</vt:lpstr>
      <vt:lpstr>PowerPoint Presentation</vt:lpstr>
    </vt:vector>
  </TitlesOfParts>
  <Company>TransUn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quisition success story</dc:title>
  <dc:creator>Whalen, Shane</dc:creator>
  <cp:lastModifiedBy>Javier Trujillo</cp:lastModifiedBy>
  <cp:revision>1052</cp:revision>
  <dcterms:created xsi:type="dcterms:W3CDTF">2022-01-24T16:13:47Z</dcterms:created>
  <dcterms:modified xsi:type="dcterms:W3CDTF">2022-08-19T23:3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A90CDDD8DBDF4082C3F6A5A12F564A</vt:lpwstr>
  </property>
</Properties>
</file>